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6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7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8.xml" ContentType="application/vnd.openxmlformats-officedocument.them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9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10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1.xml" ContentType="application/vnd.openxmlformats-officedocument.them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76" r:id="rId1"/>
    <p:sldMasterId id="2147483680" r:id="rId2"/>
    <p:sldMasterId id="2147483684" r:id="rId3"/>
    <p:sldMasterId id="2147483693" r:id="rId4"/>
    <p:sldMasterId id="2147483698" r:id="rId5"/>
    <p:sldMasterId id="2147483702" r:id="rId6"/>
    <p:sldMasterId id="2147483705" r:id="rId7"/>
    <p:sldMasterId id="2147483717" r:id="rId8"/>
    <p:sldMasterId id="2147483733" r:id="rId9"/>
    <p:sldMasterId id="2147483738" r:id="rId10"/>
    <p:sldMasterId id="2147483742" r:id="rId11"/>
  </p:sldMasterIdLst>
  <p:notesMasterIdLst>
    <p:notesMasterId r:id="rId13"/>
  </p:notesMasterIdLst>
  <p:handoutMasterIdLst>
    <p:handoutMasterId r:id="rId14"/>
  </p:handoutMasterIdLst>
  <p:sldIdLst>
    <p:sldId id="877" r:id="rId12"/>
  </p:sldIdLst>
  <p:sldSz cx="12161838" cy="6721475"/>
  <p:notesSz cx="7023100" cy="9309100"/>
  <p:custDataLst>
    <p:tags r:id="rId15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buClr>
        <a:schemeClr val="tx2"/>
      </a:buClr>
      <a:buSzPct val="125000"/>
      <a:buFont typeface="Arial" charset="0"/>
      <a:defRPr sz="1400" b="1" kern="1200">
        <a:solidFill>
          <a:schemeClr val="tx2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buClr>
        <a:schemeClr val="tx2"/>
      </a:buClr>
      <a:buSzPct val="125000"/>
      <a:buFont typeface="Arial" charset="0"/>
      <a:defRPr sz="1400" b="1" kern="1200">
        <a:solidFill>
          <a:schemeClr val="tx2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buClr>
        <a:schemeClr val="tx2"/>
      </a:buClr>
      <a:buSzPct val="125000"/>
      <a:buFont typeface="Arial" charset="0"/>
      <a:defRPr sz="1400" b="1" kern="1200">
        <a:solidFill>
          <a:schemeClr val="tx2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buClr>
        <a:schemeClr val="tx2"/>
      </a:buClr>
      <a:buSzPct val="125000"/>
      <a:buFont typeface="Arial" charset="0"/>
      <a:defRPr sz="1400" b="1" kern="1200">
        <a:solidFill>
          <a:schemeClr val="tx2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buClr>
        <a:schemeClr val="tx2"/>
      </a:buClr>
      <a:buSzPct val="125000"/>
      <a:buFont typeface="Arial" charset="0"/>
      <a:defRPr sz="1400" b="1" kern="1200">
        <a:solidFill>
          <a:schemeClr val="tx2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b="1" kern="1200">
        <a:solidFill>
          <a:schemeClr val="tx2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b="1" kern="1200">
        <a:solidFill>
          <a:schemeClr val="tx2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b="1" kern="1200">
        <a:solidFill>
          <a:schemeClr val="tx2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b="1" kern="1200">
        <a:solidFill>
          <a:schemeClr val="tx2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605" userDrawn="1">
          <p15:clr>
            <a:srgbClr val="A4A3A4"/>
          </p15:clr>
        </p15:guide>
        <p15:guide id="5" orient="horz" pos="320" userDrawn="1">
          <p15:clr>
            <a:srgbClr val="A4A3A4"/>
          </p15:clr>
        </p15:guide>
        <p15:guide id="6" orient="horz" pos="4114" userDrawn="1">
          <p15:clr>
            <a:srgbClr val="A4A3A4"/>
          </p15:clr>
        </p15:guide>
        <p15:guide id="7" pos="38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>
          <p15:clr>
            <a:srgbClr val="A4A3A4"/>
          </p15:clr>
        </p15:guide>
        <p15:guide id="2" pos="748">
          <p15:clr>
            <a:srgbClr val="A4A3A4"/>
          </p15:clr>
        </p15:guide>
        <p15:guide id="3" pos="370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9F0FF"/>
    <a:srgbClr val="DDDDDD"/>
    <a:srgbClr val="EAEAEA"/>
    <a:srgbClr val="0065CC"/>
    <a:srgbClr val="91AFFF"/>
    <a:srgbClr val="808080"/>
    <a:srgbClr val="FFFF00"/>
    <a:srgbClr val="00C7F6"/>
    <a:srgbClr val="00B0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198" autoAdjust="0"/>
    <p:restoredTop sz="93501" autoAdjust="0"/>
  </p:normalViewPr>
  <p:slideViewPr>
    <p:cSldViewPr snapToGrid="0">
      <p:cViewPr varScale="1">
        <p:scale>
          <a:sx n="134" d="100"/>
          <a:sy n="134" d="100"/>
        </p:scale>
        <p:origin x="608" y="184"/>
      </p:cViewPr>
      <p:guideLst>
        <p:guide orient="horz" pos="605"/>
        <p:guide orient="horz" pos="320"/>
        <p:guide orient="horz" pos="4114"/>
        <p:guide pos="38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46" d="100"/>
          <a:sy n="46" d="100"/>
        </p:scale>
        <p:origin x="-1728" y="-114"/>
      </p:cViewPr>
      <p:guideLst>
        <p:guide orient="horz" pos="2932"/>
        <p:guide pos="748"/>
        <p:guide pos="370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Master" Target="slideMasters/slideMaster11.xml"/><Relationship Id="rId12" Type="http://schemas.openxmlformats.org/officeDocument/2006/relationships/slide" Target="slides/slide1.xml"/><Relationship Id="rId13" Type="http://schemas.openxmlformats.org/officeDocument/2006/relationships/notesMaster" Target="notesMasters/notesMaster1.xml"/><Relationship Id="rId14" Type="http://schemas.openxmlformats.org/officeDocument/2006/relationships/handoutMaster" Target="handoutMasters/handoutMaster1.xml"/><Relationship Id="rId15" Type="http://schemas.openxmlformats.org/officeDocument/2006/relationships/tags" Target="tags/tag1.xml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9" Type="http://schemas.openxmlformats.org/officeDocument/2006/relationships/slideMaster" Target="slideMasters/slideMaster9.xml"/><Relationship Id="rId10" Type="http://schemas.openxmlformats.org/officeDocument/2006/relationships/slideMaster" Target="slideMasters/slideMaster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8351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1187450" y="4473575"/>
            <a:ext cx="46831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en-US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3436938" y="8916988"/>
            <a:ext cx="1492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20750">
              <a:buClrTx/>
              <a:buSzTx/>
              <a:buFontTx/>
              <a:buNone/>
              <a:defRPr sz="10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5B0D0094-3A5F-448E-ABEB-4C099E65D98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33231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fontAlgn="base">
      <a:lnSpc>
        <a:spcPct val="90000"/>
      </a:lnSpc>
      <a:spcBef>
        <a:spcPct val="0"/>
      </a:spcBef>
      <a:spcAft>
        <a:spcPct val="0"/>
      </a:spcAft>
      <a:buClr>
        <a:schemeClr val="tx2"/>
      </a:buClr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117475" indent="-115888" algn="l" defTabSz="895350" rtl="0" fontAlgn="base">
      <a:lnSpc>
        <a:spcPct val="90000"/>
      </a:lnSpc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300038" indent="-180975" algn="l" defTabSz="895350" rtl="0" fontAlgn="base">
      <a:lnSpc>
        <a:spcPct val="90000"/>
      </a:lnSpc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427038" indent="-125413" algn="l" defTabSz="895350" rtl="0" fontAlgn="base">
      <a:lnSpc>
        <a:spcPct val="90000"/>
      </a:lnSpc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542925" indent="-114300" algn="l" defTabSz="895350" rtl="0" fontAlgn="base">
      <a:lnSpc>
        <a:spcPct val="90000"/>
      </a:lnSpc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>
            <a:extLst>
              <a:ext uri="{FF2B5EF4-FFF2-40B4-BE49-F238E27FC236}">
                <a16:creationId xmlns:a16="http://schemas.microsoft.com/office/drawing/2014/main" xmlns="" id="{99B877F2-5CE1-444C-B15E-EA9B255FF47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3FBF2AC0-7685-400A-9144-9F51ECBB2010}" type="slidenum">
              <a:rPr lang="en-US" altLang="de-DE" smtClean="0"/>
              <a:pPr/>
              <a:t>0</a:t>
            </a:fld>
            <a:endParaRPr lang="en-US" altLang="de-DE" dirty="0"/>
          </a:p>
        </p:txBody>
      </p:sp>
      <p:sp>
        <p:nvSpPr>
          <p:cNvPr id="12291" name="Rectangle 2">
            <a:extLst>
              <a:ext uri="{FF2B5EF4-FFF2-40B4-BE49-F238E27FC236}">
                <a16:creationId xmlns:a16="http://schemas.microsoft.com/office/drawing/2014/main" xmlns="" id="{87E1F967-2A8B-487A-8F76-B1C3ADCE7B3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702050" y="1196975"/>
            <a:ext cx="14344650" cy="7927975"/>
          </a:xfrm>
          <a:ln/>
        </p:spPr>
      </p:sp>
      <p:sp>
        <p:nvSpPr>
          <p:cNvPr id="12292" name="Rectangle 3">
            <a:extLst>
              <a:ext uri="{FF2B5EF4-FFF2-40B4-BE49-F238E27FC236}">
                <a16:creationId xmlns:a16="http://schemas.microsoft.com/office/drawing/2014/main" xmlns="" id="{5FC5D9F5-D44C-4D23-9C4F-030AD0B4879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835025" y="347663"/>
            <a:ext cx="5951538" cy="220662"/>
          </a:xfrm>
          <a:noFill/>
        </p:spPr>
        <p:txBody>
          <a:bodyPr/>
          <a:lstStyle/>
          <a:p>
            <a:pPr eaLnBrk="1" hangingPunct="1"/>
            <a:endParaRPr lang="en-GB" altLang="de-DE" dirty="0"/>
          </a:p>
        </p:txBody>
      </p:sp>
    </p:spTree>
    <p:extLst>
      <p:ext uri="{BB962C8B-B14F-4D97-AF65-F5344CB8AC3E}">
        <p14:creationId xmlns:p14="http://schemas.microsoft.com/office/powerpoint/2010/main" val="16050081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jpg"/><Relationship Id="rId7" Type="http://schemas.openxmlformats.org/officeDocument/2006/relationships/image" Target="../media/image4.jpe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11.vml"/><Relationship Id="rId2" Type="http://schemas.openxmlformats.org/officeDocument/2006/relationships/tags" Target="../tags/tag5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2.emf"/><Relationship Id="rId6" Type="http://schemas.openxmlformats.org/officeDocument/2006/relationships/image" Target="../media/image3.jpg"/><Relationship Id="rId7" Type="http://schemas.openxmlformats.org/officeDocument/2006/relationships/image" Target="../media/image4.jpeg"/><Relationship Id="rId1" Type="http://schemas.openxmlformats.org/officeDocument/2006/relationships/vmlDrawing" Target="../drawings/vmlDrawing13.vml"/><Relationship Id="rId2" Type="http://schemas.openxmlformats.org/officeDocument/2006/relationships/tags" Target="../tags/tag7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15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14.vml"/><Relationship Id="rId2" Type="http://schemas.openxmlformats.org/officeDocument/2006/relationships/tags" Target="../tags/tag7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tags" Target="../tags/tag74.xml"/><Relationship Id="rId2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image" Target="../media/image9.jpg"/><Relationship Id="rId5" Type="http://schemas.openxmlformats.org/officeDocument/2006/relationships/oleObject" Target="../embeddings/oleObject17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6.vml"/><Relationship Id="rId2" Type="http://schemas.openxmlformats.org/officeDocument/2006/relationships/tags" Target="../tags/tag9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18.bin"/><Relationship Id="rId6" Type="http://schemas.openxmlformats.org/officeDocument/2006/relationships/image" Target="../media/image10.emf"/><Relationship Id="rId1" Type="http://schemas.openxmlformats.org/officeDocument/2006/relationships/vmlDrawing" Target="../drawings/vmlDrawing17.vml"/><Relationship Id="rId2" Type="http://schemas.openxmlformats.org/officeDocument/2006/relationships/tags" Target="../tags/tag9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tags" Target="../tags/tag95.xml"/><Relationship Id="rId2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4" Type="http://schemas.openxmlformats.org/officeDocument/2006/relationships/slideMaster" Target="../slideMasters/slideMaster6.xml"/><Relationship Id="rId5" Type="http://schemas.openxmlformats.org/officeDocument/2006/relationships/oleObject" Target="../embeddings/oleObject20.bin"/><Relationship Id="rId6" Type="http://schemas.openxmlformats.org/officeDocument/2006/relationships/image" Target="../media/image2.emf"/><Relationship Id="rId7" Type="http://schemas.openxmlformats.org/officeDocument/2006/relationships/image" Target="../media/image11.emf"/><Relationship Id="rId8" Type="http://schemas.openxmlformats.org/officeDocument/2006/relationships/image" Target="../media/image8.emf"/><Relationship Id="rId1" Type="http://schemas.openxmlformats.org/officeDocument/2006/relationships/vmlDrawing" Target="../drawings/vmlDrawing19.vml"/><Relationship Id="rId2" Type="http://schemas.openxmlformats.org/officeDocument/2006/relationships/tags" Target="../tags/tag9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tags" Target="../tags/tag100.xml"/><Relationship Id="rId2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4" Type="http://schemas.openxmlformats.org/officeDocument/2006/relationships/image" Target="../media/image8.emf"/><Relationship Id="rId1" Type="http://schemas.openxmlformats.org/officeDocument/2006/relationships/tags" Target="../tags/tag104.xml"/><Relationship Id="rId2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7.emf"/><Relationship Id="rId1" Type="http://schemas.openxmlformats.org/officeDocument/2006/relationships/vmlDrawing" Target="../drawings/vmlDrawing21.vml"/><Relationship Id="rId2" Type="http://schemas.openxmlformats.org/officeDocument/2006/relationships/tags" Target="../tags/tag10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23.bin"/><Relationship Id="rId5" Type="http://schemas.openxmlformats.org/officeDocument/2006/relationships/image" Target="../media/image7.emf"/><Relationship Id="rId1" Type="http://schemas.openxmlformats.org/officeDocument/2006/relationships/vmlDrawing" Target="../drawings/vmlDrawing22.vml"/><Relationship Id="rId2" Type="http://schemas.openxmlformats.org/officeDocument/2006/relationships/tags" Target="../tags/tag10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22.xml"/><Relationship Id="rId2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4" Type="http://schemas.openxmlformats.org/officeDocument/2006/relationships/image" Target="../media/image8.emf"/><Relationship Id="rId1" Type="http://schemas.openxmlformats.org/officeDocument/2006/relationships/tags" Target="../tags/tag110.xml"/><Relationship Id="rId2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2.emf"/><Relationship Id="rId6" Type="http://schemas.openxmlformats.org/officeDocument/2006/relationships/image" Target="../media/image3.jpg"/><Relationship Id="rId7" Type="http://schemas.openxmlformats.org/officeDocument/2006/relationships/image" Target="../media/image4.jpeg"/><Relationship Id="rId1" Type="http://schemas.openxmlformats.org/officeDocument/2006/relationships/vmlDrawing" Target="../drawings/vmlDrawing25.vml"/><Relationship Id="rId2" Type="http://schemas.openxmlformats.org/officeDocument/2006/relationships/tags" Target="../tags/tag12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4" Type="http://schemas.openxmlformats.org/officeDocument/2006/relationships/slideMaster" Target="../slideMasters/slideMaster9.xml"/><Relationship Id="rId5" Type="http://schemas.openxmlformats.org/officeDocument/2006/relationships/oleObject" Target="../embeddings/oleObject27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26.vml"/><Relationship Id="rId2" Type="http://schemas.openxmlformats.org/officeDocument/2006/relationships/tags" Target="../tags/tag12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tags" Target="../tags/tag131.xml"/><Relationship Id="rId2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7.emf"/><Relationship Id="rId1" Type="http://schemas.openxmlformats.org/officeDocument/2006/relationships/vmlDrawing" Target="../drawings/vmlDrawing27.vml"/><Relationship Id="rId2" Type="http://schemas.openxmlformats.org/officeDocument/2006/relationships/tags" Target="../tags/tag13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5" Type="http://schemas.openxmlformats.org/officeDocument/2006/relationships/tags" Target="../tags/tag26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4.bin"/><Relationship Id="rId8" Type="http://schemas.openxmlformats.org/officeDocument/2006/relationships/image" Target="../media/image6.emf"/><Relationship Id="rId9" Type="http://schemas.openxmlformats.org/officeDocument/2006/relationships/oleObject" Target="../embeddings/oleObject5.bin"/><Relationship Id="rId1" Type="http://schemas.openxmlformats.org/officeDocument/2006/relationships/vmlDrawing" Target="../drawings/vmlDrawing4.vml"/><Relationship Id="rId2" Type="http://schemas.openxmlformats.org/officeDocument/2006/relationships/tags" Target="../tags/tag23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30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9.vml"/><Relationship Id="rId2" Type="http://schemas.openxmlformats.org/officeDocument/2006/relationships/tags" Target="../tags/tag15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tags" Target="../tags/tag151.xml"/><Relationship Id="rId2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tags" Target="../tags/tag152.xml"/><Relationship Id="rId2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image" Target="../media/image12.jpg"/><Relationship Id="rId5" Type="http://schemas.openxmlformats.org/officeDocument/2006/relationships/oleObject" Target="../embeddings/oleObject3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31.vml"/><Relationship Id="rId2" Type="http://schemas.openxmlformats.org/officeDocument/2006/relationships/tags" Target="../tags/tag18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tags" Target="../tags/tag186.xml"/><Relationship Id="rId2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tags" Target="../tags/tag187.xml"/><Relationship Id="rId2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2.emf"/><Relationship Id="rId6" Type="http://schemas.openxmlformats.org/officeDocument/2006/relationships/image" Target="../media/image3.jpg"/><Relationship Id="rId7" Type="http://schemas.openxmlformats.org/officeDocument/2006/relationships/image" Target="../media/image4.jpeg"/><Relationship Id="rId1" Type="http://schemas.openxmlformats.org/officeDocument/2006/relationships/vmlDrawing" Target="../drawings/vmlDrawing6.vml"/><Relationship Id="rId2" Type="http://schemas.openxmlformats.org/officeDocument/2006/relationships/tags" Target="../tags/tag4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7.vml"/><Relationship Id="rId2" Type="http://schemas.openxmlformats.org/officeDocument/2006/relationships/tags" Target="../tags/tag4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tags" Target="../tags/tag47.xml"/><Relationship Id="rId2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7.emf"/><Relationship Id="rId1" Type="http://schemas.openxmlformats.org/officeDocument/2006/relationships/vmlDrawing" Target="../drawings/vmlDrawing8.vml"/><Relationship Id="rId2" Type="http://schemas.openxmlformats.org/officeDocument/2006/relationships/tags" Target="../tags/tag4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7" Type="http://schemas.openxmlformats.org/officeDocument/2006/relationships/image" Target="../media/image8.emf"/><Relationship Id="rId1" Type="http://schemas.openxmlformats.org/officeDocument/2006/relationships/vmlDrawing" Target="../drawings/vmlDrawing10.vml"/><Relationship Id="rId2" Type="http://schemas.openxmlformats.org/officeDocument/2006/relationships/tags" Target="../tags/tag5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8687090"/>
              </p:ext>
            </p:extLst>
          </p:nvPr>
        </p:nvGraphicFramePr>
        <p:xfrm>
          <a:off x="2156" y="1591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4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56" y="1591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background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0" cy="6721426"/>
          </a:xfrm>
          <a:prstGeom prst="rect">
            <a:avLst/>
          </a:prstGeom>
        </p:spPr>
      </p:pic>
      <p:pic>
        <p:nvPicPr>
          <p:cNvPr id="19" name="Picture 18"/>
          <p:cNvPicPr>
            <a:picLocks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" y="50"/>
            <a:ext cx="12161658" cy="672137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8" y="-1"/>
            <a:ext cx="9332640" cy="3967882"/>
          </a:xfrm>
          <a:prstGeom prst="rect">
            <a:avLst/>
          </a:prstGeom>
          <a:solidFill>
            <a:schemeClr val="bg2">
              <a:alpha val="7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568" dirty="0">
              <a:solidFill>
                <a:srgbClr val="000000"/>
              </a:solidFill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6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800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8250174" y="6254082"/>
            <a:ext cx="89826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8250173" y="6377193"/>
            <a:ext cx="380634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bg1"/>
                </a:solidFill>
                <a:latin typeface="+mn-lt"/>
              </a:rPr>
              <a:t>Last Modified 3/16/2018 1:23 PM Central European Standard Time</a:t>
            </a:r>
            <a:endParaRPr lang="en-US" sz="6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8250174" y="6500305"/>
            <a:ext cx="361004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369332"/>
          </a:xfrm>
          <a:prstGeom prst="rect">
            <a:avLst/>
          </a:prstGeom>
        </p:spPr>
        <p:txBody>
          <a:bodyPr/>
          <a:lstStyle>
            <a:lvl1pPr>
              <a:defRPr sz="24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80"/>
            <a:ext cx="8457178" cy="16158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5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638006"/>
            <a:ext cx="8457178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05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7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2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2" y="6254082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903" eaLnBrk="0" hangingPunct="0"/>
            <a:r>
              <a:rPr lang="en-US" sz="6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804903" eaLnBrk="0" hangingPunct="0"/>
            <a:r>
              <a:rPr lang="en-US" sz="6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4785196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6563461"/>
              </p:ext>
            </p:ext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049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190599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/>
          <p:cNvSpPr txBox="1">
            <a:spLocks/>
          </p:cNvSpPr>
          <p:nvPr userDrawn="1"/>
        </p:nvSpPr>
        <p:spPr>
          <a:xfrm>
            <a:off x="11597374" y="6435725"/>
            <a:ext cx="283309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4440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12141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5FF73E5-5D5E-4FF9-A1E3-F0EF598D1B4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493381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1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98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56" y="1591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background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0" cy="6721426"/>
          </a:xfrm>
          <a:prstGeom prst="rect">
            <a:avLst/>
          </a:prstGeom>
        </p:spPr>
      </p:pic>
      <p:pic>
        <p:nvPicPr>
          <p:cNvPr id="19" name="Picture 18"/>
          <p:cNvPicPr>
            <a:picLocks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" y="50"/>
            <a:ext cx="12161658" cy="672137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8" y="-1"/>
            <a:ext cx="9332640" cy="3967882"/>
          </a:xfrm>
          <a:prstGeom prst="rect">
            <a:avLst/>
          </a:prstGeom>
          <a:solidFill>
            <a:schemeClr val="bg2">
              <a:alpha val="7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002960"/>
              </a:buClr>
            </a:pPr>
            <a:endParaRPr lang="en-US" sz="1568" dirty="0">
              <a:solidFill>
                <a:srgbClr val="000000"/>
              </a:solidFill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6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buClr>
                <a:srgbClr val="002960"/>
              </a:buClr>
              <a:defRPr/>
            </a:pPr>
            <a:endParaRPr lang="en-US" sz="800" dirty="0">
              <a:solidFill>
                <a:srgbClr val="482A06"/>
              </a:solidFill>
              <a:latin typeface="Arial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8250174" y="6254082"/>
            <a:ext cx="89826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buClr>
                <a:srgbClr val="002960"/>
              </a:buClr>
              <a:defRPr/>
            </a:pPr>
            <a:r>
              <a:rPr lang="en-US" sz="600" dirty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8250173" y="6377193"/>
            <a:ext cx="380634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buClr>
                <a:srgbClr val="002960"/>
              </a:buClr>
              <a:defRPr/>
            </a:pPr>
            <a:r>
              <a:rPr lang="en-US" sz="600">
                <a:solidFill>
                  <a:srgbClr val="FFFFFF"/>
                </a:solidFill>
                <a:latin typeface="Arial"/>
              </a:rPr>
              <a:t>Last Modified 3/16/2018 1:23 PM Central European Standard Time</a:t>
            </a:r>
            <a:endParaRPr lang="en-US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8250174" y="6500305"/>
            <a:ext cx="361004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buClr>
                <a:srgbClr val="002960"/>
              </a:buClr>
              <a:defRPr/>
            </a:pPr>
            <a:r>
              <a:rPr lang="en-US" sz="600" dirty="0">
                <a:solidFill>
                  <a:srgbClr val="FFFFFF"/>
                </a:solidFill>
                <a:latin typeface="Arial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369332"/>
          </a:xfrm>
          <a:prstGeom prst="rect">
            <a:avLst/>
          </a:prstGeom>
        </p:spPr>
        <p:txBody>
          <a:bodyPr/>
          <a:lstStyle>
            <a:lvl1pPr>
              <a:defRPr sz="24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80"/>
            <a:ext cx="8457178" cy="16158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5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638006"/>
            <a:ext cx="8457178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buClr>
                <a:srgbClr val="002960"/>
              </a:buClr>
              <a:defRPr/>
            </a:pPr>
            <a:r>
              <a:rPr lang="en-US" sz="1050"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7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Clr>
                <a:srgbClr val="002960"/>
              </a:buClr>
            </a:pPr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2" y="6254082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903" eaLnBrk="0" hangingPunct="0">
              <a:buClr>
                <a:srgbClr val="002960"/>
              </a:buClr>
            </a:pPr>
            <a:r>
              <a:rPr lang="en-US" sz="6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903" eaLnBrk="0" hangingPunct="0">
              <a:buClr>
                <a:srgbClr val="002960"/>
              </a:buClr>
            </a:pPr>
            <a:r>
              <a:rPr lang="en-US" sz="6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053967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7231919"/>
              </p:ext>
            </p:extLst>
          </p:nvPr>
        </p:nvGraphicFramePr>
        <p:xfrm>
          <a:off x="1616" y="1590"/>
          <a:ext cx="16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079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16" y="1590"/>
                        <a:ext cx="16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91"/>
            <a:ext cx="11696477" cy="276999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buClr>
                <a:srgbClr val="002960"/>
              </a:buClr>
            </a:pPr>
            <a:fld id="{42C328C1-A84F-4A39-A664-DBA00541A8C6}" type="slidenum">
              <a:rPr lang="en-US" sz="800" b="0" smtClean="0">
                <a:solidFill>
                  <a:srgbClr val="808080"/>
                </a:solidFill>
              </a:rPr>
              <a:pPr>
                <a:buClr>
                  <a:srgbClr val="002960"/>
                </a:buClr>
              </a:pPr>
              <a:t>‹#›</a:t>
            </a:fld>
            <a:endParaRPr lang="en-US" sz="800" b="0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473537" y="6508274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95">
              <a:buClr>
                <a:srgbClr val="002960"/>
              </a:buClr>
            </a:pPr>
            <a:r>
              <a:rPr lang="en-US" sz="800" b="0" dirty="0">
                <a:solidFill>
                  <a:srgbClr val="808080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2"/>
            <a:ext cx="1228516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95">
              <a:buClr>
                <a:srgbClr val="002960"/>
              </a:buClr>
            </a:pPr>
            <a:endParaRPr lang="en-US" sz="45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203252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9961" userDrawn="1">
          <p15:clr>
            <a:srgbClr val="F26B43"/>
          </p15:clr>
        </p15:guide>
        <p15:guide id="2" pos="94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pos="7479" userDrawn="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23663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buClr>
                <a:srgbClr val="002960"/>
              </a:buClr>
            </a:pPr>
            <a:fld id="{42C328C1-A84F-4A39-A664-DBA00541A8C6}" type="slidenum">
              <a:rPr lang="en-US" sz="600" smtClean="0">
                <a:solidFill>
                  <a:srgbClr val="FFFFFF"/>
                </a:solidFill>
              </a:rPr>
              <a:pPr>
                <a:buClr>
                  <a:srgbClr val="002960"/>
                </a:buClr>
              </a:pPr>
              <a:t>‹#›</a:t>
            </a:fld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677119" y="6523663"/>
            <a:ext cx="809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95">
              <a:buClr>
                <a:srgbClr val="002960"/>
              </a:buClr>
            </a:pPr>
            <a:r>
              <a:rPr lang="en-US" sz="6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2"/>
            <a:ext cx="1228516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95">
              <a:buClr>
                <a:srgbClr val="002960"/>
              </a:buClr>
            </a:pPr>
            <a:endParaRPr lang="en-US" sz="45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945107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797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130" userDrawn="1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000000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5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US"/>
            </a:pPr>
            <a:r>
              <a:rPr sz="800" b="1" dirty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US"/>
            </a:pPr>
            <a:r>
              <a:rPr lang="en-US" sz="800">
                <a:solidFill>
                  <a:srgbClr val="FFFFFF"/>
                </a:solidFill>
                <a:latin typeface="Arial"/>
              </a:rPr>
              <a:t>Last Modified 3/16/2018 1:23 PM Central European Standard Time</a:t>
            </a:r>
            <a:endParaRPr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US"/>
            </a:pPr>
            <a:r>
              <a:rPr sz="800" dirty="0">
                <a:solidFill>
                  <a:srgbClr val="FFFFFF"/>
                </a:solidFill>
                <a:latin typeface="Arial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US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en-US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US"/>
            </a:pPr>
            <a:r>
              <a:rPr sz="1400"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en-US"/>
            </a:pPr>
            <a:endParaRPr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en-US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en-US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en-US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en-US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en-US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en-US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en-US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en-US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3289398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533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lang="en-US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808080"/>
                </a:solidFill>
              </a:rPr>
              <a:pPr/>
              <a:t>‹#›</a:t>
            </a:fld>
            <a:endParaRPr sz="800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06211" y="6508273"/>
            <a:ext cx="108042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dirty="0">
                <a:solidFill>
                  <a:srgbClr val="808080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6583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71" userDrawn="1">
          <p15:clr>
            <a:srgbClr val="F26B43"/>
          </p15:clr>
        </p15:guide>
        <p15:guide id="2" pos="100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lang="en-US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FFFFFF"/>
                </a:solidFill>
              </a:rPr>
              <a:pPr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06211" y="6508273"/>
            <a:ext cx="108042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699849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16" y="1590"/>
          <a:ext cx="16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35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16" y="1590"/>
                        <a:ext cx="16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23663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600" smtClean="0">
                <a:solidFill>
                  <a:schemeClr val="accent6"/>
                </a:solidFill>
              </a:rPr>
              <a:pPr lvl="0"/>
              <a:t>‹#›</a:t>
            </a:fld>
            <a:endParaRPr lang="en-US" sz="6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677119" y="6523663"/>
            <a:ext cx="809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95"/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2"/>
            <a:ext cx="1228516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95"/>
            <a:endParaRPr lang="en-US" sz="45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396538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9961" userDrawn="1">
          <p15:clr>
            <a:srgbClr val="F26B43"/>
          </p15:clr>
        </p15:guide>
        <p15:guide id="2" pos="134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7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5828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582842" y="498476"/>
            <a:ext cx="358431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3/16/2018 1:23 P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582842" y="655639"/>
            <a:ext cx="3975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0"/>
            <a:ext cx="12157530" cy="6723063"/>
            <a:chOff x="0" y="0"/>
            <a:chExt cx="8958264" cy="6723063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30775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ocument type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ate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2640013" y="5895975"/>
              <a:ext cx="5121275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noProof="0" dirty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noProof="0" dirty="0">
                <a:latin typeface="+mn-lt"/>
              </a:endParaRP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2842" y="3867150"/>
            <a:ext cx="6698166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167149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60619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2842" y="2133601"/>
            <a:ext cx="6698166" cy="492443"/>
          </a:xfr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grpSp>
        <p:nvGrpSpPr>
          <p:cNvPr id="13513" name="Title Elements"/>
          <p:cNvGrpSpPr>
            <a:grpSpLocks/>
          </p:cNvGrpSpPr>
          <p:nvPr/>
        </p:nvGrpSpPr>
        <p:grpSpPr bwMode="auto">
          <a:xfrm>
            <a:off x="1" y="0"/>
            <a:ext cx="12157529" cy="6723063"/>
            <a:chOff x="0" y="0"/>
            <a:chExt cx="5643" cy="4235"/>
          </a:xfrm>
        </p:grpSpPr>
        <p:sp>
          <p:nvSpPr>
            <p:cNvPr id="13332" name="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00"/>
                <a:t>Document type</a:t>
              </a:r>
            </a:p>
          </p:txBody>
        </p:sp>
        <p:sp>
          <p:nvSpPr>
            <p:cNvPr id="13333" name="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00"/>
                <a:t>Date</a:t>
              </a:r>
            </a:p>
          </p:txBody>
        </p:sp>
        <p:sp>
          <p:nvSpPr>
            <p:cNvPr id="13352" name="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/>
                <a:t>CONFIDENTIAL AND PROPRIETARY</a:t>
              </a:r>
            </a:p>
            <a:p>
              <a:pPr defTabSz="804863" eaLnBrk="0" hangingPunct="0"/>
              <a:r>
                <a:rPr lang="en-US" sz="800"/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/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/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/>
            </a:p>
          </p:txBody>
        </p:sp>
      </p:grpSp>
      <p:grpSp>
        <p:nvGrpSpPr>
          <p:cNvPr id="13510" name="TitleBottomBar"/>
          <p:cNvGrpSpPr>
            <a:grpSpLocks/>
          </p:cNvGrpSpPr>
          <p:nvPr/>
        </p:nvGrpSpPr>
        <p:grpSpPr bwMode="auto">
          <a:xfrm>
            <a:off x="2977443" y="6300789"/>
            <a:ext cx="9184396" cy="420687"/>
            <a:chOff x="1382" y="3969"/>
            <a:chExt cx="4263" cy="265"/>
          </a:xfrm>
        </p:grpSpPr>
        <p:sp>
          <p:nvSpPr>
            <p:cNvPr id="13422" name="Rectangle 1134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/>
            </a:p>
          </p:txBody>
        </p:sp>
        <p:pic>
          <p:nvPicPr>
            <p:cNvPr id="13480" name="Picture 119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514" name="doc id"/>
          <p:cNvSpPr txBox="1">
            <a:spLocks noChangeArrowheads="1"/>
          </p:cNvSpPr>
          <p:nvPr/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/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6469216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FAF898A1-1FDA-41FF-AA1E-FA01238C98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867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FAF898A1-1FDA-41FF-AA1E-FA01238C98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558595" y="6429600"/>
            <a:ext cx="283309" cy="153888"/>
          </a:xfrm>
        </p:spPr>
        <p:txBody>
          <a:bodyPr lIns="0" tIns="0" rIns="0" bIns="0"/>
          <a:lstStyle>
            <a:lvl1pPr>
              <a:defRPr sz="1000"/>
            </a:lvl1pPr>
          </a:lstStyle>
          <a:p>
            <a:fld id="{B9EC52FD-32E2-49AD-8876-F1177AFA5732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671173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0883" y="4319589"/>
            <a:ext cx="10337023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0883" y="2849563"/>
            <a:ext cx="10337023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C155C88-7734-418E-B0BF-C1387FDC0C67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31456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71317" y="1951039"/>
            <a:ext cx="2815858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94002" y="1951039"/>
            <a:ext cx="2815859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72B1515-6B78-4B5E-901A-378BBEDD91F6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40751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554" y="269875"/>
            <a:ext cx="10946731" cy="2923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7554" y="1504951"/>
            <a:ext cx="5373184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554" y="2132013"/>
            <a:ext cx="5373184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8946" y="1504951"/>
            <a:ext cx="5375339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8946" y="2132013"/>
            <a:ext cx="5375339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98A173E-5E17-43F5-ACED-4A99A195B46F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570715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B1EA4EA-0F70-4E51-AC38-4345919E3C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7891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7B1EA4EA-0F70-4E51-AC38-4345919E3C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558595" y="6429600"/>
            <a:ext cx="283309" cy="153888"/>
          </a:xfrm>
        </p:spPr>
        <p:txBody>
          <a:bodyPr lIns="0" tIns="0" rIns="0" bIns="0"/>
          <a:lstStyle>
            <a:lvl1pPr>
              <a:defRPr sz="1000"/>
            </a:lvl1pPr>
          </a:lstStyle>
          <a:p>
            <a:fld id="{3FE70D25-07C7-436B-BB45-851BEC3D970F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029583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AACFA74-03D6-448F-ACF4-565186F3D1B6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947744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554" y="1098749"/>
            <a:ext cx="400080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54859" y="268289"/>
            <a:ext cx="6799426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7554" y="1406525"/>
            <a:ext cx="4000803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027AB6B-F2CD-4D43-812D-B958938DC819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271588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06211" y="6508274"/>
            <a:ext cx="108042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95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2"/>
            <a:ext cx="1228516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95"/>
            <a:endParaRPr lang="en-US" sz="45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107259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797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130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2816" y="4953199"/>
            <a:ext cx="729710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2816" y="600075"/>
            <a:ext cx="729710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2816" y="5260975"/>
            <a:ext cx="729710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738DC6-7FD2-4E5C-89B1-60CC3FF46F7E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429775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BEDAF16-9CF9-471C-A461-10E410066573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460413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273286" y="230189"/>
            <a:ext cx="584775" cy="29432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1584" y="230189"/>
            <a:ext cx="8566070" cy="29432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7BCF930-A671-4480-A1E1-C5C8E8DA88FE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789636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35828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3582842" y="498476"/>
            <a:ext cx="358431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3/16/2018 1:23 PM Central European Standard Time</a:t>
            </a:r>
            <a:endParaRPr lang="en-US" sz="900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3582842" y="655639"/>
            <a:ext cx="26545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5/19/2015 2:13 AM Pacific Standard Time</a:t>
            </a:r>
          </a:p>
        </p:txBody>
      </p:sp>
      <p:grpSp>
        <p:nvGrpSpPr>
          <p:cNvPr id="8" name="Title Elements"/>
          <p:cNvGrpSpPr>
            <a:grpSpLocks/>
          </p:cNvGrpSpPr>
          <p:nvPr/>
        </p:nvGrpSpPr>
        <p:grpSpPr bwMode="auto">
          <a:xfrm>
            <a:off x="1" y="0"/>
            <a:ext cx="12157529" cy="6723063"/>
            <a:chOff x="0" y="0"/>
            <a:chExt cx="5643" cy="4235"/>
          </a:xfrm>
        </p:grpSpPr>
        <p:sp>
          <p:nvSpPr>
            <p:cNvPr id="9" name="Title Elements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Title Elements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Title Elements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4863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520504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5725"/>
            <a:ext cx="283309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8152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12027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1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24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56" y="1591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background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0" cy="6721426"/>
          </a:xfrm>
          <a:prstGeom prst="rect">
            <a:avLst/>
          </a:prstGeom>
        </p:spPr>
      </p:pic>
      <p:pic>
        <p:nvPicPr>
          <p:cNvPr id="19" name="Picture 18"/>
          <p:cNvPicPr>
            <a:picLocks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" y="50"/>
            <a:ext cx="12161658" cy="672137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8" y="-1"/>
            <a:ext cx="9332640" cy="3967882"/>
          </a:xfrm>
          <a:prstGeom prst="rect">
            <a:avLst/>
          </a:prstGeom>
          <a:solidFill>
            <a:schemeClr val="bg2">
              <a:alpha val="7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568" dirty="0">
              <a:solidFill>
                <a:srgbClr val="000000"/>
              </a:solidFill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6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800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8250174" y="6254082"/>
            <a:ext cx="89826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8250173" y="6377193"/>
            <a:ext cx="380634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bg1"/>
                </a:solidFill>
                <a:latin typeface="+mn-lt"/>
              </a:rPr>
              <a:t>Last Modified 3/16/2018 1:23 PM Central European Standard Time</a:t>
            </a:r>
            <a:endParaRPr lang="en-US" sz="6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8250174" y="6500305"/>
            <a:ext cx="361004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369332"/>
          </a:xfrm>
          <a:prstGeom prst="rect">
            <a:avLst/>
          </a:prstGeom>
        </p:spPr>
        <p:txBody>
          <a:bodyPr/>
          <a:lstStyle>
            <a:lvl1pPr>
              <a:defRPr sz="24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80"/>
            <a:ext cx="8457178" cy="16158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5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638006"/>
            <a:ext cx="8457178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05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7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2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2" y="6254082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903" eaLnBrk="0" hangingPunct="0"/>
            <a:r>
              <a:rPr lang="en-US" sz="6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804903" eaLnBrk="0" hangingPunct="0"/>
            <a:r>
              <a:rPr lang="en-US" sz="6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8678267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385326"/>
              </p:ext>
            </p:extLst>
          </p:nvPr>
        </p:nvGraphicFramePr>
        <p:xfrm>
          <a:off x="1616" y="1590"/>
          <a:ext cx="16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348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16" y="1590"/>
                        <a:ext cx="16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91"/>
            <a:ext cx="11696477" cy="276999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b="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b="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473537" y="6508274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95"/>
            <a:r>
              <a:rPr lang="en-US" sz="800" b="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2"/>
            <a:ext cx="1228516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95"/>
            <a:endParaRPr lang="en-US" sz="45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22309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9961" userDrawn="1">
          <p15:clr>
            <a:srgbClr val="F26B43"/>
          </p15:clr>
        </p15:guide>
        <p15:guide id="2" pos="95" userDrawn="1">
          <p15:clr>
            <a:srgbClr val="F26B43"/>
          </p15:clr>
        </p15:guide>
        <p15:guide id="5" pos="7467" userDrawn="1">
          <p15:clr>
            <a:srgbClr val="F26B43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06211" y="6508274"/>
            <a:ext cx="108042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95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2"/>
            <a:ext cx="1228516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95"/>
            <a:endParaRPr lang="en-US" sz="45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2035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797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130" userDrawn="1">
          <p15:clr>
            <a:srgbClr val="00000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C6145BA6-7B1D-4B6E-BEDA-ACECB49D9C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4504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C6145BA6-7B1D-4B6E-BEDA-ACECB49D9C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7675302A-C31E-42A6-8A25-CEB2A8F76D51}" type="slidenum">
              <a:rPr lang="en-US" sz="1000" b="0" i="0" baseline="0" smtClean="0"/>
              <a:pPr algn="l"/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21453347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xmlns="" id="{5C3FE812-7D58-4675-B572-172E7E63C6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3485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4" name="Object 1" hidden="1">
                        <a:extLst>
                          <a:ext uri="{FF2B5EF4-FFF2-40B4-BE49-F238E27FC236}">
                            <a16:creationId xmlns:a16="http://schemas.microsoft.com/office/drawing/2014/main" xmlns="" id="{5C3FE812-7D58-4675-B572-172E7E63C62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BottomBar">
            <a:extLst>
              <a:ext uri="{FF2B5EF4-FFF2-40B4-BE49-F238E27FC236}">
                <a16:creationId xmlns:a16="http://schemas.microsoft.com/office/drawing/2014/main" xmlns="" id="{D041A084-F633-432B-AA29-7D934885BE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de-DE" altLang="de-DE" sz="1600" dirty="0"/>
          </a:p>
        </p:txBody>
      </p:sp>
      <p:sp>
        <p:nvSpPr>
          <p:cNvPr id="6" name="SlideLogoText">
            <a:extLst>
              <a:ext uri="{FF2B5EF4-FFF2-40B4-BE49-F238E27FC236}">
                <a16:creationId xmlns:a16="http://schemas.microsoft.com/office/drawing/2014/main" xmlns="" id="{04863325-D93E-4434-A5ED-6C85D162180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965362" y="6434981"/>
            <a:ext cx="13433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de-DE" sz="1000" dirty="0"/>
              <a:t>McKinsey &amp; Company</a:t>
            </a:r>
          </a:p>
        </p:txBody>
      </p:sp>
      <p:sp>
        <p:nvSpPr>
          <p:cNvPr id="7" name="1. On-page tracker" hidden="1">
            <a:extLst>
              <a:ext uri="{FF2B5EF4-FFF2-40B4-BE49-F238E27FC236}">
                <a16:creationId xmlns:a16="http://schemas.microsoft.com/office/drawing/2014/main" xmlns="" id="{C1A0F8E3-F31D-46D0-8889-8524FCF86A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584" y="26988"/>
            <a:ext cx="87844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de-DE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3. Unit of measure" hidden="1">
            <a:extLst>
              <a:ext uri="{FF2B5EF4-FFF2-40B4-BE49-F238E27FC236}">
                <a16:creationId xmlns:a16="http://schemas.microsoft.com/office/drawing/2014/main" xmlns="" id="{B1EAC025-BC6D-458B-B843-6CAFAA50B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584" y="531813"/>
            <a:ext cx="496168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de-DE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Slide Elements">
            <a:extLst>
              <a:ext uri="{FF2B5EF4-FFF2-40B4-BE49-F238E27FC236}">
                <a16:creationId xmlns:a16="http://schemas.microsoft.com/office/drawing/2014/main" xmlns="" id="{BDAE1AFB-7D56-497E-B82F-B32B6163F57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61585" y="6080125"/>
            <a:ext cx="11601681" cy="508000"/>
            <a:chOff x="75" y="3830"/>
            <a:chExt cx="5385" cy="320"/>
          </a:xfrm>
        </p:grpSpPr>
        <p:sp>
          <p:nvSpPr>
            <p:cNvPr id="10" name="Slide Elements" hidden="1">
              <a:extLst>
                <a:ext uri="{FF2B5EF4-FFF2-40B4-BE49-F238E27FC236}">
                  <a16:creationId xmlns:a16="http://schemas.microsoft.com/office/drawing/2014/main" xmlns="" id="{4DE403DD-582C-4D60-9DD0-0B73E74C044D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de-DE" sz="1000" dirty="0"/>
                <a:t>1 Footnote</a:t>
              </a:r>
            </a:p>
          </p:txBody>
        </p:sp>
        <p:sp>
          <p:nvSpPr>
            <p:cNvPr id="11" name="Slide Elements" hidden="1">
              <a:extLst>
                <a:ext uri="{FF2B5EF4-FFF2-40B4-BE49-F238E27FC236}">
                  <a16:creationId xmlns:a16="http://schemas.microsoft.com/office/drawing/2014/main" xmlns="" id="{2422D0A0-638D-46BA-AE1D-01289E6882B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85813" indent="-142875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36625" indent="-149225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073150" indent="-134938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223963" indent="-149225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6811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1383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5955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0527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de-DE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>
            <a:extLst>
              <a:ext uri="{FF2B5EF4-FFF2-40B4-BE49-F238E27FC236}">
                <a16:creationId xmlns:a16="http://schemas.microsoft.com/office/drawing/2014/main" xmlns="" id="{48FF0C33-9E28-4826-BD42-09BD66B793B1}"/>
              </a:ext>
            </a:extLst>
          </p:cNvPr>
          <p:cNvGrpSpPr>
            <a:grpSpLocks/>
          </p:cNvGrpSpPr>
          <p:nvPr/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3" name="AutoShape 249" hidden="1">
              <a:extLst>
                <a:ext uri="{FF2B5EF4-FFF2-40B4-BE49-F238E27FC236}">
                  <a16:creationId xmlns:a16="http://schemas.microsoft.com/office/drawing/2014/main" xmlns="" id="{A12516C6-DCE5-49D3-875E-CA1ADE45FBEF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 hidden="1">
              <a:extLst>
                <a:ext uri="{FF2B5EF4-FFF2-40B4-BE49-F238E27FC236}">
                  <a16:creationId xmlns:a16="http://schemas.microsoft.com/office/drawing/2014/main" xmlns="" id="{8EF6996C-0BE4-4448-9F7A-2184DB313E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de-DE" sz="1600" b="1" dirty="0"/>
                <a:t>Title</a:t>
              </a:r>
            </a:p>
            <a:p>
              <a:pPr eaLnBrk="1" hangingPunct="1">
                <a:defRPr/>
              </a:pPr>
              <a:r>
                <a:rPr lang="en-US" altLang="de-DE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doc id">
            <a:extLst>
              <a:ext uri="{FF2B5EF4-FFF2-40B4-BE49-F238E27FC236}">
                <a16:creationId xmlns:a16="http://schemas.microsoft.com/office/drawing/2014/main" xmlns="" id="{53994F28-9A90-4BB2-BAD4-E76270A70A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endParaRPr lang="cs-CZ" altLang="de-DE" sz="800" dirty="0">
              <a:solidFill>
                <a:srgbClr val="000000"/>
              </a:solidFill>
            </a:endParaRPr>
          </a:p>
        </p:txBody>
      </p:sp>
      <p:sp>
        <p:nvSpPr>
          <p:cNvPr id="16" name="Working Draft" hidden="1">
            <a:extLst>
              <a:ext uri="{FF2B5EF4-FFF2-40B4-BE49-F238E27FC236}">
                <a16:creationId xmlns:a16="http://schemas.microsoft.com/office/drawing/2014/main" xmlns="" id="{CCD094C0-C038-4E94-B797-E62552296DC2}"/>
              </a:ext>
            </a:extLst>
          </p:cNvPr>
          <p:cNvSpPr txBox="1">
            <a:spLocks noChangeArrowheads="1"/>
          </p:cNvSpPr>
          <p:nvPr/>
        </p:nvSpPr>
        <p:spPr bwMode="auto">
          <a:xfrm rot="5400000">
            <a:off x="10872807" y="2747834"/>
            <a:ext cx="238847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de-DE" sz="600"/>
              <a:t>Last Modified 3/16/2018 1:23 PM Central European Standard Time</a:t>
            </a:r>
            <a:endParaRPr lang="en-US" altLang="de-DE" sz="1600" dirty="0"/>
          </a:p>
        </p:txBody>
      </p:sp>
      <p:sp>
        <p:nvSpPr>
          <p:cNvPr id="17" name="Printed" hidden="1">
            <a:extLst>
              <a:ext uri="{FF2B5EF4-FFF2-40B4-BE49-F238E27FC236}">
                <a16:creationId xmlns:a16="http://schemas.microsoft.com/office/drawing/2014/main" xmlns="" id="{A49AAD4C-F535-4A34-A522-8A71AC32CB8A}"/>
              </a:ext>
            </a:extLst>
          </p:cNvPr>
          <p:cNvSpPr txBox="1">
            <a:spLocks noChangeArrowheads="1"/>
          </p:cNvSpPr>
          <p:nvPr/>
        </p:nvSpPr>
        <p:spPr bwMode="auto">
          <a:xfrm rot="5400000">
            <a:off x="11539654" y="4240083"/>
            <a:ext cx="105477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de-DE" sz="600" dirty="0"/>
              <a:t>Printed 2/22/2010 1:41:35 PM</a:t>
            </a:r>
            <a:endParaRPr lang="en-US" altLang="de-DE" sz="1600" dirty="0"/>
          </a:p>
        </p:txBody>
      </p:sp>
      <p:sp>
        <p:nvSpPr>
          <p:cNvPr id="18" name="SlideLogoSeparator">
            <a:extLst>
              <a:ext uri="{FF2B5EF4-FFF2-40B4-BE49-F238E27FC236}">
                <a16:creationId xmlns:a16="http://schemas.microsoft.com/office/drawing/2014/main" xmlns="" id="{5DAF8B15-3D87-4E58-ACA2-B3A60830F7B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435596" y="6402924"/>
            <a:ext cx="4328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de-DE" sz="1200" dirty="0"/>
              <a:t>|</a:t>
            </a:r>
          </a:p>
        </p:txBody>
      </p:sp>
      <p:graphicFrame>
        <p:nvGraphicFramePr>
          <p:cNvPr id="19" name="Object 19" hidden="1">
            <a:extLst>
              <a:ext uri="{FF2B5EF4-FFF2-40B4-BE49-F238E27FC236}">
                <a16:creationId xmlns:a16="http://schemas.microsoft.com/office/drawing/2014/main" xmlns="" id="{EF57C167-DFB3-4428-B16A-17BE041EB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3486"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19" name="Object 19" hidden="1">
                        <a:extLst>
                          <a:ext uri="{FF2B5EF4-FFF2-40B4-BE49-F238E27FC236}">
                            <a16:creationId xmlns:a16="http://schemas.microsoft.com/office/drawing/2014/main" xmlns="" id="{EF57C167-DFB3-4428-B16A-17BE041EBCF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xmlns="" id="{95FF1160-828B-4347-94AF-6DC2051EB5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199D62-4DF4-450D-9790-7638F37ACCA1}" type="slidenum">
              <a:rPr lang="en-US" altLang="de-DE"/>
              <a:pPr>
                <a:defRPr/>
              </a:pPr>
              <a:t>‹#›</a:t>
            </a:fld>
            <a:r>
              <a:rPr lang="en-US" alt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14208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440020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53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386977" y="6508273"/>
            <a:ext cx="109965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4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  <p15:guide id="5" pos="9961" userDrawn="1">
          <p15:clr>
            <a:srgbClr val="F26B43"/>
          </p15:clr>
        </p15:guide>
        <p15:guide id="6" pos="95" userDrawn="1">
          <p15:clr>
            <a:srgbClr val="F26B43"/>
          </p15:clr>
        </p15:guide>
        <p15:guide id="7" pos="7467" userDrawn="1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386977" y="6508273"/>
            <a:ext cx="109965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4" pos="96">
          <p15:clr>
            <a:srgbClr val="000000"/>
          </p15:clr>
        </p15:guide>
        <p15:guide id="5" pos="6797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130" userDrawn="1">
          <p15:clr>
            <a:srgbClr val="00000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4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386977" y="6508273"/>
            <a:ext cx="109965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386977" y="6508273"/>
            <a:ext cx="109965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1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4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56" y="1591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background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0" cy="6721426"/>
          </a:xfrm>
          <a:prstGeom prst="rect">
            <a:avLst/>
          </a:prstGeom>
        </p:spPr>
      </p:pic>
      <p:pic>
        <p:nvPicPr>
          <p:cNvPr id="19" name="Picture 18"/>
          <p:cNvPicPr>
            <a:picLocks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" y="50"/>
            <a:ext cx="12161658" cy="672137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8" y="-1"/>
            <a:ext cx="9332640" cy="3967882"/>
          </a:xfrm>
          <a:prstGeom prst="rect">
            <a:avLst/>
          </a:prstGeom>
          <a:solidFill>
            <a:schemeClr val="bg2">
              <a:alpha val="7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568" dirty="0">
              <a:solidFill>
                <a:srgbClr val="000000"/>
              </a:solidFill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6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800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8250174" y="6254082"/>
            <a:ext cx="89826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8250173" y="6377193"/>
            <a:ext cx="380634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bg1"/>
                </a:solidFill>
                <a:latin typeface="+mn-lt"/>
              </a:rPr>
              <a:t>Last Modified 3/16/2018 1:23 PM Central European Standard Time</a:t>
            </a:r>
            <a:endParaRPr lang="en-US" sz="6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8250174" y="6500305"/>
            <a:ext cx="361004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369332"/>
          </a:xfrm>
          <a:prstGeom prst="rect">
            <a:avLst/>
          </a:prstGeom>
        </p:spPr>
        <p:txBody>
          <a:bodyPr/>
          <a:lstStyle>
            <a:lvl1pPr>
              <a:defRPr sz="24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80"/>
            <a:ext cx="8457178" cy="16158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5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638006"/>
            <a:ext cx="8457178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05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7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2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2" y="6254082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903" eaLnBrk="0" hangingPunct="0"/>
            <a:r>
              <a:rPr lang="en-US" sz="6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804903" eaLnBrk="0" hangingPunct="0"/>
            <a:r>
              <a:rPr lang="en-US" sz="6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554690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511500"/>
              </p:ext>
            </p:extLst>
          </p:nvPr>
        </p:nvGraphicFramePr>
        <p:xfrm>
          <a:off x="1616" y="1590"/>
          <a:ext cx="16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50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16" y="1590"/>
                        <a:ext cx="16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91"/>
            <a:ext cx="11696477" cy="276999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b="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b="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473537" y="6508274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95"/>
            <a:r>
              <a:rPr lang="en-US" sz="800" b="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2"/>
            <a:ext cx="1228516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95"/>
            <a:endParaRPr lang="en-US" sz="45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886457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9961" userDrawn="1">
          <p15:clr>
            <a:srgbClr val="F26B43"/>
          </p15:clr>
        </p15:guide>
        <p15:guide id="2" pos="95" userDrawn="1">
          <p15:clr>
            <a:srgbClr val="F26B43"/>
          </p15:clr>
        </p15:guide>
        <p15:guide id="5" pos="7467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06211" y="6508274"/>
            <a:ext cx="108042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95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2"/>
            <a:ext cx="1228516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95"/>
            <a:endParaRPr lang="en-US" sz="45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428620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797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130" userDrawn="1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C6145BA6-7B1D-4B6E-BEDA-ACECB49D9C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0020773"/>
              </p:ext>
            </p:ext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0086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7675302A-C31E-42A6-8A25-CEB2A8F76D51}" type="slidenum">
              <a:rPr lang="en-US" sz="1000" b="0" i="0" baseline="0" smtClean="0"/>
              <a:pPr algn="l"/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992693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95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35828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3582842" y="498476"/>
            <a:ext cx="358431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3/16/2018 1:23 P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3582842" y="655639"/>
            <a:ext cx="248144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Printed 3/1/2017 5:14 PM India Standard Time</a:t>
            </a: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0"/>
            <a:ext cx="12157530" cy="6723063"/>
            <a:chOff x="0" y="0"/>
            <a:chExt cx="8958264" cy="6723063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30775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Disclaimer-English (US)" hidden="1"/>
            <p:cNvSpPr>
              <a:spLocks noChangeArrowheads="1"/>
            </p:cNvSpPr>
            <p:nvPr/>
          </p:nvSpPr>
          <p:spPr bwMode="auto">
            <a:xfrm>
              <a:off x="2640013" y="5895975"/>
              <a:ext cx="5121275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4863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113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975288" y="6305550"/>
            <a:ext cx="9184395" cy="420688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2842" y="3867150"/>
            <a:ext cx="6698166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15586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4.xml"/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tags" Target="../tags/tag17.xml"/><Relationship Id="rId23" Type="http://schemas.openxmlformats.org/officeDocument/2006/relationships/tags" Target="../tags/tag1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136.xml"/><Relationship Id="rId20" Type="http://schemas.openxmlformats.org/officeDocument/2006/relationships/tags" Target="../tags/tag147.xml"/><Relationship Id="rId21" Type="http://schemas.openxmlformats.org/officeDocument/2006/relationships/tags" Target="../tags/tag148.xml"/><Relationship Id="rId22" Type="http://schemas.openxmlformats.org/officeDocument/2006/relationships/tags" Target="../tags/tag149.xml"/><Relationship Id="rId23" Type="http://schemas.openxmlformats.org/officeDocument/2006/relationships/oleObject" Target="../embeddings/oleObject29.bin"/><Relationship Id="rId24" Type="http://schemas.openxmlformats.org/officeDocument/2006/relationships/image" Target="../media/image1.emf"/><Relationship Id="rId10" Type="http://schemas.openxmlformats.org/officeDocument/2006/relationships/tags" Target="../tags/tag137.xml"/><Relationship Id="rId11" Type="http://schemas.openxmlformats.org/officeDocument/2006/relationships/tags" Target="../tags/tag138.xml"/><Relationship Id="rId12" Type="http://schemas.openxmlformats.org/officeDocument/2006/relationships/tags" Target="../tags/tag139.xml"/><Relationship Id="rId13" Type="http://schemas.openxmlformats.org/officeDocument/2006/relationships/tags" Target="../tags/tag140.xml"/><Relationship Id="rId14" Type="http://schemas.openxmlformats.org/officeDocument/2006/relationships/tags" Target="../tags/tag141.xml"/><Relationship Id="rId15" Type="http://schemas.openxmlformats.org/officeDocument/2006/relationships/tags" Target="../tags/tag142.xml"/><Relationship Id="rId16" Type="http://schemas.openxmlformats.org/officeDocument/2006/relationships/tags" Target="../tags/tag143.xml"/><Relationship Id="rId17" Type="http://schemas.openxmlformats.org/officeDocument/2006/relationships/tags" Target="../tags/tag144.xml"/><Relationship Id="rId18" Type="http://schemas.openxmlformats.org/officeDocument/2006/relationships/tags" Target="../tags/tag145.xml"/><Relationship Id="rId19" Type="http://schemas.openxmlformats.org/officeDocument/2006/relationships/tags" Target="../tags/tag146.xml"/><Relationship Id="rId1" Type="http://schemas.openxmlformats.org/officeDocument/2006/relationships/slideLayout" Target="../slideLayouts/slideLayout40.xml"/><Relationship Id="rId2" Type="http://schemas.openxmlformats.org/officeDocument/2006/relationships/slideLayout" Target="../slideLayouts/slideLayout41.xml"/><Relationship Id="rId3" Type="http://schemas.openxmlformats.org/officeDocument/2006/relationships/slideLayout" Target="../slideLayouts/slideLayout42.xml"/><Relationship Id="rId4" Type="http://schemas.openxmlformats.org/officeDocument/2006/relationships/theme" Target="../theme/theme10.xml"/><Relationship Id="rId5" Type="http://schemas.openxmlformats.org/officeDocument/2006/relationships/vmlDrawing" Target="../drawings/vmlDrawing28.vml"/><Relationship Id="rId6" Type="http://schemas.openxmlformats.org/officeDocument/2006/relationships/tags" Target="../tags/tag133.xml"/><Relationship Id="rId7" Type="http://schemas.openxmlformats.org/officeDocument/2006/relationships/tags" Target="../tags/tag134.xml"/><Relationship Id="rId8" Type="http://schemas.openxmlformats.org/officeDocument/2006/relationships/tags" Target="../tags/tag135.xml"/></Relationships>
</file>

<file path=ppt/slideMasters/_rels/slideMaster11.xml.rels><?xml version="1.0" encoding="UTF-8" standalone="yes"?>
<Relationships xmlns="http://schemas.openxmlformats.org/package/2006/relationships"><Relationship Id="rId20" Type="http://schemas.openxmlformats.org/officeDocument/2006/relationships/tags" Target="../tags/tag167.xml"/><Relationship Id="rId21" Type="http://schemas.openxmlformats.org/officeDocument/2006/relationships/tags" Target="../tags/tag168.xml"/><Relationship Id="rId22" Type="http://schemas.openxmlformats.org/officeDocument/2006/relationships/tags" Target="../tags/tag169.xml"/><Relationship Id="rId23" Type="http://schemas.openxmlformats.org/officeDocument/2006/relationships/tags" Target="../tags/tag170.xml"/><Relationship Id="rId24" Type="http://schemas.openxmlformats.org/officeDocument/2006/relationships/tags" Target="../tags/tag171.xml"/><Relationship Id="rId25" Type="http://schemas.openxmlformats.org/officeDocument/2006/relationships/tags" Target="../tags/tag172.xml"/><Relationship Id="rId26" Type="http://schemas.openxmlformats.org/officeDocument/2006/relationships/tags" Target="../tags/tag173.xml"/><Relationship Id="rId27" Type="http://schemas.openxmlformats.org/officeDocument/2006/relationships/tags" Target="../tags/tag174.xml"/><Relationship Id="rId28" Type="http://schemas.openxmlformats.org/officeDocument/2006/relationships/tags" Target="../tags/tag175.xml"/><Relationship Id="rId29" Type="http://schemas.openxmlformats.org/officeDocument/2006/relationships/tags" Target="../tags/tag176.xml"/><Relationship Id="rId1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4.xml"/><Relationship Id="rId3" Type="http://schemas.openxmlformats.org/officeDocument/2006/relationships/slideLayout" Target="../slideLayouts/slideLayout45.xml"/><Relationship Id="rId4" Type="http://schemas.openxmlformats.org/officeDocument/2006/relationships/theme" Target="../theme/theme11.xml"/><Relationship Id="rId5" Type="http://schemas.openxmlformats.org/officeDocument/2006/relationships/vmlDrawing" Target="../drawings/vmlDrawing30.vml"/><Relationship Id="rId30" Type="http://schemas.openxmlformats.org/officeDocument/2006/relationships/tags" Target="../tags/tag177.xml"/><Relationship Id="rId31" Type="http://schemas.openxmlformats.org/officeDocument/2006/relationships/tags" Target="../tags/tag178.xml"/><Relationship Id="rId32" Type="http://schemas.openxmlformats.org/officeDocument/2006/relationships/tags" Target="../tags/tag179.xml"/><Relationship Id="rId9" Type="http://schemas.openxmlformats.org/officeDocument/2006/relationships/tags" Target="../tags/tag156.xml"/><Relationship Id="rId6" Type="http://schemas.openxmlformats.org/officeDocument/2006/relationships/tags" Target="../tags/tag153.xml"/><Relationship Id="rId7" Type="http://schemas.openxmlformats.org/officeDocument/2006/relationships/tags" Target="../tags/tag154.xml"/><Relationship Id="rId8" Type="http://schemas.openxmlformats.org/officeDocument/2006/relationships/tags" Target="../tags/tag155.xml"/><Relationship Id="rId33" Type="http://schemas.openxmlformats.org/officeDocument/2006/relationships/tags" Target="../tags/tag180.xml"/><Relationship Id="rId34" Type="http://schemas.openxmlformats.org/officeDocument/2006/relationships/tags" Target="../tags/tag181.xml"/><Relationship Id="rId35" Type="http://schemas.openxmlformats.org/officeDocument/2006/relationships/tags" Target="../tags/tag182.xml"/><Relationship Id="rId36" Type="http://schemas.openxmlformats.org/officeDocument/2006/relationships/tags" Target="../tags/tag183.xml"/><Relationship Id="rId10" Type="http://schemas.openxmlformats.org/officeDocument/2006/relationships/tags" Target="../tags/tag157.xml"/><Relationship Id="rId11" Type="http://schemas.openxmlformats.org/officeDocument/2006/relationships/tags" Target="../tags/tag158.xml"/><Relationship Id="rId12" Type="http://schemas.openxmlformats.org/officeDocument/2006/relationships/tags" Target="../tags/tag159.xml"/><Relationship Id="rId13" Type="http://schemas.openxmlformats.org/officeDocument/2006/relationships/tags" Target="../tags/tag160.xml"/><Relationship Id="rId14" Type="http://schemas.openxmlformats.org/officeDocument/2006/relationships/tags" Target="../tags/tag161.xml"/><Relationship Id="rId15" Type="http://schemas.openxmlformats.org/officeDocument/2006/relationships/tags" Target="../tags/tag162.xml"/><Relationship Id="rId16" Type="http://schemas.openxmlformats.org/officeDocument/2006/relationships/tags" Target="../tags/tag163.xml"/><Relationship Id="rId17" Type="http://schemas.openxmlformats.org/officeDocument/2006/relationships/tags" Target="../tags/tag164.xml"/><Relationship Id="rId18" Type="http://schemas.openxmlformats.org/officeDocument/2006/relationships/tags" Target="../tags/tag165.xml"/><Relationship Id="rId19" Type="http://schemas.openxmlformats.org/officeDocument/2006/relationships/tags" Target="../tags/tag166.xml"/><Relationship Id="rId37" Type="http://schemas.openxmlformats.org/officeDocument/2006/relationships/tags" Target="../tags/tag184.xml"/><Relationship Id="rId38" Type="http://schemas.openxmlformats.org/officeDocument/2006/relationships/oleObject" Target="../embeddings/oleObject31.bin"/><Relationship Id="rId3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9.xml"/><Relationship Id="rId20" Type="http://schemas.openxmlformats.org/officeDocument/2006/relationships/tags" Target="../tags/tag40.xml"/><Relationship Id="rId21" Type="http://schemas.openxmlformats.org/officeDocument/2006/relationships/tags" Target="../tags/tag41.xml"/><Relationship Id="rId22" Type="http://schemas.openxmlformats.org/officeDocument/2006/relationships/tags" Target="../tags/tag42.xml"/><Relationship Id="rId23" Type="http://schemas.openxmlformats.org/officeDocument/2006/relationships/tags" Target="../tags/tag43.xml"/><Relationship Id="rId24" Type="http://schemas.openxmlformats.org/officeDocument/2006/relationships/oleObject" Target="../embeddings/oleObject6.bin"/><Relationship Id="rId25" Type="http://schemas.openxmlformats.org/officeDocument/2006/relationships/image" Target="../media/image1.emf"/><Relationship Id="rId10" Type="http://schemas.openxmlformats.org/officeDocument/2006/relationships/tags" Target="../tags/tag30.xml"/><Relationship Id="rId11" Type="http://schemas.openxmlformats.org/officeDocument/2006/relationships/tags" Target="../tags/tag31.xml"/><Relationship Id="rId12" Type="http://schemas.openxmlformats.org/officeDocument/2006/relationships/tags" Target="../tags/tag32.xml"/><Relationship Id="rId13" Type="http://schemas.openxmlformats.org/officeDocument/2006/relationships/tags" Target="../tags/tag33.xml"/><Relationship Id="rId14" Type="http://schemas.openxmlformats.org/officeDocument/2006/relationships/tags" Target="../tags/tag34.xml"/><Relationship Id="rId15" Type="http://schemas.openxmlformats.org/officeDocument/2006/relationships/tags" Target="../tags/tag35.xml"/><Relationship Id="rId16" Type="http://schemas.openxmlformats.org/officeDocument/2006/relationships/tags" Target="../tags/tag36.xml"/><Relationship Id="rId17" Type="http://schemas.openxmlformats.org/officeDocument/2006/relationships/tags" Target="../tags/tag37.xml"/><Relationship Id="rId18" Type="http://schemas.openxmlformats.org/officeDocument/2006/relationships/tags" Target="../tags/tag38.xml"/><Relationship Id="rId19" Type="http://schemas.openxmlformats.org/officeDocument/2006/relationships/tags" Target="../tags/tag39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slideLayout" Target="../slideLayouts/slideLayout8.xml"/><Relationship Id="rId5" Type="http://schemas.openxmlformats.org/officeDocument/2006/relationships/theme" Target="../theme/theme2.xml"/><Relationship Id="rId6" Type="http://schemas.openxmlformats.org/officeDocument/2006/relationships/vmlDrawing" Target="../drawings/vmlDrawing5.vml"/><Relationship Id="rId7" Type="http://schemas.openxmlformats.org/officeDocument/2006/relationships/tags" Target="../tags/tag27.xml"/><Relationship Id="rId8" Type="http://schemas.openxmlformats.org/officeDocument/2006/relationships/tags" Target="../tags/tag2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3.xml"/><Relationship Id="rId6" Type="http://schemas.openxmlformats.org/officeDocument/2006/relationships/theme" Target="../theme/theme3.xml"/><Relationship Id="rId7" Type="http://schemas.openxmlformats.org/officeDocument/2006/relationships/vmlDrawing" Target="../drawings/vmlDrawing9.vml"/><Relationship Id="rId8" Type="http://schemas.openxmlformats.org/officeDocument/2006/relationships/tags" Target="../tags/tag49.xml"/><Relationship Id="rId9" Type="http://schemas.openxmlformats.org/officeDocument/2006/relationships/tags" Target="../tags/tag50.xml"/><Relationship Id="rId10" Type="http://schemas.openxmlformats.org/officeDocument/2006/relationships/oleObject" Target="../embeddings/oleObject10.bin"/><Relationship Id="rId11" Type="http://schemas.openxmlformats.org/officeDocument/2006/relationships/image" Target="../media/image1.emf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57.xml"/><Relationship Id="rId20" Type="http://schemas.openxmlformats.org/officeDocument/2006/relationships/tags" Target="../tags/tag68.xml"/><Relationship Id="rId21" Type="http://schemas.openxmlformats.org/officeDocument/2006/relationships/tags" Target="../tags/tag69.xml"/><Relationship Id="rId22" Type="http://schemas.openxmlformats.org/officeDocument/2006/relationships/tags" Target="../tags/tag70.xml"/><Relationship Id="rId23" Type="http://schemas.openxmlformats.org/officeDocument/2006/relationships/oleObject" Target="../embeddings/oleObject13.bin"/><Relationship Id="rId24" Type="http://schemas.openxmlformats.org/officeDocument/2006/relationships/image" Target="../media/image1.emf"/><Relationship Id="rId10" Type="http://schemas.openxmlformats.org/officeDocument/2006/relationships/tags" Target="../tags/tag58.xml"/><Relationship Id="rId11" Type="http://schemas.openxmlformats.org/officeDocument/2006/relationships/tags" Target="../tags/tag59.xml"/><Relationship Id="rId12" Type="http://schemas.openxmlformats.org/officeDocument/2006/relationships/tags" Target="../tags/tag60.xml"/><Relationship Id="rId13" Type="http://schemas.openxmlformats.org/officeDocument/2006/relationships/tags" Target="../tags/tag61.xml"/><Relationship Id="rId14" Type="http://schemas.openxmlformats.org/officeDocument/2006/relationships/tags" Target="../tags/tag62.xml"/><Relationship Id="rId15" Type="http://schemas.openxmlformats.org/officeDocument/2006/relationships/tags" Target="../tags/tag63.xml"/><Relationship Id="rId16" Type="http://schemas.openxmlformats.org/officeDocument/2006/relationships/tags" Target="../tags/tag64.xml"/><Relationship Id="rId17" Type="http://schemas.openxmlformats.org/officeDocument/2006/relationships/tags" Target="../tags/tag65.xml"/><Relationship Id="rId18" Type="http://schemas.openxmlformats.org/officeDocument/2006/relationships/tags" Target="../tags/tag66.xml"/><Relationship Id="rId19" Type="http://schemas.openxmlformats.org/officeDocument/2006/relationships/tags" Target="../tags/tag67.xml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6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12.vml"/><Relationship Id="rId6" Type="http://schemas.openxmlformats.org/officeDocument/2006/relationships/tags" Target="../tags/tag54.xml"/><Relationship Id="rId7" Type="http://schemas.openxmlformats.org/officeDocument/2006/relationships/tags" Target="../tags/tag55.xml"/><Relationship Id="rId8" Type="http://schemas.openxmlformats.org/officeDocument/2006/relationships/tags" Target="../tags/tag56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ags" Target="../tags/tag78.xml"/><Relationship Id="rId20" Type="http://schemas.openxmlformats.org/officeDocument/2006/relationships/tags" Target="../tags/tag89.xml"/><Relationship Id="rId21" Type="http://schemas.openxmlformats.org/officeDocument/2006/relationships/tags" Target="../tags/tag90.xml"/><Relationship Id="rId22" Type="http://schemas.openxmlformats.org/officeDocument/2006/relationships/tags" Target="../tags/tag91.xml"/><Relationship Id="rId23" Type="http://schemas.openxmlformats.org/officeDocument/2006/relationships/oleObject" Target="../embeddings/oleObject16.bin"/><Relationship Id="rId24" Type="http://schemas.openxmlformats.org/officeDocument/2006/relationships/image" Target="../media/image1.emf"/><Relationship Id="rId10" Type="http://schemas.openxmlformats.org/officeDocument/2006/relationships/tags" Target="../tags/tag79.xml"/><Relationship Id="rId11" Type="http://schemas.openxmlformats.org/officeDocument/2006/relationships/tags" Target="../tags/tag80.xml"/><Relationship Id="rId12" Type="http://schemas.openxmlformats.org/officeDocument/2006/relationships/tags" Target="../tags/tag81.xml"/><Relationship Id="rId13" Type="http://schemas.openxmlformats.org/officeDocument/2006/relationships/tags" Target="../tags/tag82.xml"/><Relationship Id="rId14" Type="http://schemas.openxmlformats.org/officeDocument/2006/relationships/tags" Target="../tags/tag83.xml"/><Relationship Id="rId15" Type="http://schemas.openxmlformats.org/officeDocument/2006/relationships/tags" Target="../tags/tag84.xml"/><Relationship Id="rId16" Type="http://schemas.openxmlformats.org/officeDocument/2006/relationships/tags" Target="../tags/tag85.xml"/><Relationship Id="rId17" Type="http://schemas.openxmlformats.org/officeDocument/2006/relationships/tags" Target="../tags/tag86.xml"/><Relationship Id="rId18" Type="http://schemas.openxmlformats.org/officeDocument/2006/relationships/tags" Target="../tags/tag87.xml"/><Relationship Id="rId19" Type="http://schemas.openxmlformats.org/officeDocument/2006/relationships/tags" Target="../tags/tag88.xml"/><Relationship Id="rId1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9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15.vml"/><Relationship Id="rId6" Type="http://schemas.openxmlformats.org/officeDocument/2006/relationships/tags" Target="../tags/tag75.xml"/><Relationship Id="rId7" Type="http://schemas.openxmlformats.org/officeDocument/2006/relationships/tags" Target="../tags/tag76.xml"/><Relationship Id="rId8" Type="http://schemas.openxmlformats.org/officeDocument/2006/relationships/tags" Target="../tags/tag7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4" Type="http://schemas.openxmlformats.org/officeDocument/2006/relationships/vmlDrawing" Target="../drawings/vmlDrawing18.vml"/><Relationship Id="rId5" Type="http://schemas.openxmlformats.org/officeDocument/2006/relationships/tags" Target="../tags/tag96.xml"/><Relationship Id="rId6" Type="http://schemas.openxmlformats.org/officeDocument/2006/relationships/tags" Target="../tags/tag97.xml"/><Relationship Id="rId7" Type="http://schemas.openxmlformats.org/officeDocument/2006/relationships/oleObject" Target="../embeddings/oleObject19.bin"/><Relationship Id="rId8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1.xml"/></Relationships>
</file>

<file path=ppt/slideMasters/_rels/slideMaster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2.xml"/><Relationship Id="rId12" Type="http://schemas.openxmlformats.org/officeDocument/2006/relationships/theme" Target="../theme/theme7.xml"/><Relationship Id="rId13" Type="http://schemas.openxmlformats.org/officeDocument/2006/relationships/vmlDrawing" Target="../drawings/vmlDrawing20.vml"/><Relationship Id="rId14" Type="http://schemas.openxmlformats.org/officeDocument/2006/relationships/tags" Target="../tags/tag101.xml"/><Relationship Id="rId15" Type="http://schemas.openxmlformats.org/officeDocument/2006/relationships/tags" Target="../tags/tag102.xml"/><Relationship Id="rId16" Type="http://schemas.openxmlformats.org/officeDocument/2006/relationships/tags" Target="../tags/tag103.xml"/><Relationship Id="rId17" Type="http://schemas.openxmlformats.org/officeDocument/2006/relationships/oleObject" Target="../embeddings/oleObject21.bin"/><Relationship Id="rId18" Type="http://schemas.openxmlformats.org/officeDocument/2006/relationships/image" Target="../media/image2.emf"/><Relationship Id="rId1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3.xml"/><Relationship Id="rId3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6.xml"/><Relationship Id="rId6" Type="http://schemas.openxmlformats.org/officeDocument/2006/relationships/slideLayout" Target="../slideLayouts/slideLayout27.xml"/><Relationship Id="rId7" Type="http://schemas.openxmlformats.org/officeDocument/2006/relationships/slideLayout" Target="../slideLayouts/slideLayout28.xml"/><Relationship Id="rId8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1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4" Type="http://schemas.openxmlformats.org/officeDocument/2006/relationships/theme" Target="../theme/theme8.xml"/><Relationship Id="rId5" Type="http://schemas.openxmlformats.org/officeDocument/2006/relationships/vmlDrawing" Target="../drawings/vmlDrawing23.vml"/><Relationship Id="rId6" Type="http://schemas.openxmlformats.org/officeDocument/2006/relationships/tags" Target="../tags/tag107.xml"/><Relationship Id="rId7" Type="http://schemas.openxmlformats.org/officeDocument/2006/relationships/tags" Target="../tags/tag108.xml"/><Relationship Id="rId8" Type="http://schemas.openxmlformats.org/officeDocument/2006/relationships/tags" Target="../tags/tag109.xml"/><Relationship Id="rId9" Type="http://schemas.openxmlformats.org/officeDocument/2006/relationships/oleObject" Target="../embeddings/oleObject24.bin"/><Relationship Id="rId10" Type="http://schemas.openxmlformats.org/officeDocument/2006/relationships/image" Target="../media/image1.emf"/><Relationship Id="rId1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4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113.xml"/><Relationship Id="rId20" Type="http://schemas.openxmlformats.org/officeDocument/2006/relationships/tags" Target="../tags/tag124.xml"/><Relationship Id="rId21" Type="http://schemas.openxmlformats.org/officeDocument/2006/relationships/tags" Target="../tags/tag125.xml"/><Relationship Id="rId22" Type="http://schemas.openxmlformats.org/officeDocument/2006/relationships/tags" Target="../tags/tag126.xml"/><Relationship Id="rId23" Type="http://schemas.openxmlformats.org/officeDocument/2006/relationships/tags" Target="../tags/tag127.xml"/><Relationship Id="rId24" Type="http://schemas.openxmlformats.org/officeDocument/2006/relationships/oleObject" Target="../embeddings/oleObject25.bin"/><Relationship Id="rId25" Type="http://schemas.openxmlformats.org/officeDocument/2006/relationships/image" Target="../media/image1.emf"/><Relationship Id="rId10" Type="http://schemas.openxmlformats.org/officeDocument/2006/relationships/tags" Target="../tags/tag114.xml"/><Relationship Id="rId11" Type="http://schemas.openxmlformats.org/officeDocument/2006/relationships/tags" Target="../tags/tag115.xml"/><Relationship Id="rId12" Type="http://schemas.openxmlformats.org/officeDocument/2006/relationships/tags" Target="../tags/tag116.xml"/><Relationship Id="rId13" Type="http://schemas.openxmlformats.org/officeDocument/2006/relationships/tags" Target="../tags/tag117.xml"/><Relationship Id="rId14" Type="http://schemas.openxmlformats.org/officeDocument/2006/relationships/tags" Target="../tags/tag118.xml"/><Relationship Id="rId15" Type="http://schemas.openxmlformats.org/officeDocument/2006/relationships/tags" Target="../tags/tag119.xml"/><Relationship Id="rId16" Type="http://schemas.openxmlformats.org/officeDocument/2006/relationships/tags" Target="../tags/tag120.xml"/><Relationship Id="rId17" Type="http://schemas.openxmlformats.org/officeDocument/2006/relationships/tags" Target="../tags/tag121.xml"/><Relationship Id="rId18" Type="http://schemas.openxmlformats.org/officeDocument/2006/relationships/tags" Target="../tags/tag122.xml"/><Relationship Id="rId19" Type="http://schemas.openxmlformats.org/officeDocument/2006/relationships/tags" Target="../tags/tag123.xml"/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theme" Target="../theme/theme9.xml"/><Relationship Id="rId6" Type="http://schemas.openxmlformats.org/officeDocument/2006/relationships/vmlDrawing" Target="../drawings/vmlDrawing24.vml"/><Relationship Id="rId7" Type="http://schemas.openxmlformats.org/officeDocument/2006/relationships/tags" Target="../tags/tag111.xml"/><Relationship Id="rId8" Type="http://schemas.openxmlformats.org/officeDocument/2006/relationships/tags" Target="../tags/tag1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32219254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39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600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2"/>
            <a:ext cx="1228516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95"/>
            <a:endParaRPr lang="en-US" sz="45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70965" y="1952134"/>
            <a:ext cx="1792157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45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3/16/2018 1:23 PM Central European Standard Time</a:t>
            </a:r>
            <a:endParaRPr lang="en-US" sz="45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67656" y="4125960"/>
            <a:ext cx="198772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45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6" y="75766"/>
            <a:ext cx="3783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5"/>
            <a:ext cx="116964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161585" y="6337696"/>
            <a:ext cx="11601681" cy="293688"/>
            <a:chOff x="75" y="3956"/>
            <a:chExt cx="5385" cy="18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4294" indent="-64294">
                <a:defRPr/>
              </a:pPr>
              <a:r>
                <a:rPr lang="en-US" sz="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3"/>
              <a:ext cx="4702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0285" indent="-370285" defTabSz="895395">
                <a:tabLst/>
              </a:pPr>
              <a:r>
                <a:rPr lang="en-US" sz="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378404"/>
            <a:ext cx="5786837" cy="387350"/>
            <a:chOff x="915" y="786"/>
            <a:chExt cx="2686" cy="244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86"/>
              <a:ext cx="2686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92116" y="285752"/>
            <a:ext cx="365934" cy="120033"/>
            <a:chOff x="8471137" y="285750"/>
            <a:chExt cx="269638" cy="120033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71137" y="285750"/>
              <a:ext cx="269638" cy="1200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95">
                <a:buClr>
                  <a:schemeClr val="tx2"/>
                </a:buClr>
              </a:pPr>
              <a:r>
                <a:rPr lang="en-US" sz="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71137" y="285750"/>
              <a:ext cx="0" cy="12003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71137" y="405783"/>
              <a:ext cx="26963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06" y="279402"/>
            <a:ext cx="668891" cy="984251"/>
            <a:chOff x="7835905" y="279400"/>
            <a:chExt cx="657191" cy="98425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5" y="279400"/>
            <a:ext cx="982349" cy="684600"/>
            <a:chOff x="7540629" y="279400"/>
            <a:chExt cx="965166" cy="68460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4" y="250825"/>
            <a:ext cx="736753" cy="1306516"/>
            <a:chOff x="7769225" y="250825"/>
            <a:chExt cx="723866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60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1338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97" r:id="rId4"/>
  </p:sldLayoutIdLst>
  <p:txStyles>
    <p:titleStyle>
      <a:lvl1pPr algn="l" defTabSz="895395" rtl="0" eaLnBrk="1" fontAlgn="base" hangingPunct="1">
        <a:spcBef>
          <a:spcPct val="0"/>
        </a:spcBef>
        <a:spcAft>
          <a:spcPct val="0"/>
        </a:spcAft>
        <a:tabLst>
          <a:tab pos="269888" algn="l"/>
        </a:tabLst>
        <a:defRPr sz="15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23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46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68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92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45800" indent="-1431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34800" indent="-1863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461700" indent="-1161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61600" indent="-972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8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2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5883209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34795" y="4113597"/>
            <a:ext cx="264496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50904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1401" y="285751"/>
            <a:ext cx="486657" cy="150811"/>
            <a:chOff x="8382182" y="285750"/>
            <a:chExt cx="358593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2182" y="285750"/>
              <a:ext cx="358593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2182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2182" y="436561"/>
              <a:ext cx="35859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816509" cy="997467"/>
            <a:chOff x="7835905" y="279400"/>
            <a:chExt cx="802227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129966" cy="730767"/>
            <a:chOff x="7540629" y="279400"/>
            <a:chExt cx="1110202" cy="730767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84371" cy="1306516"/>
            <a:chOff x="7769225" y="250825"/>
            <a:chExt cx="868902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633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</p:sldLayoutIdLst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401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34795" y="4113597"/>
            <a:ext cx="264496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50904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316494"/>
            <a:ext cx="5786837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4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1401" y="285751"/>
            <a:ext cx="486657" cy="150811"/>
            <a:chOff x="8382182" y="285750"/>
            <a:chExt cx="358593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2182" y="285750"/>
              <a:ext cx="358593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2182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2182" y="436561"/>
              <a:ext cx="35859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816509" cy="997467"/>
            <a:chOff x="7835905" y="279400"/>
            <a:chExt cx="802227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129966" cy="730767"/>
            <a:chOff x="7540629" y="279400"/>
            <a:chExt cx="1110202" cy="730767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84371" cy="1306516"/>
            <a:chOff x="7769225" y="250825"/>
            <a:chExt cx="868902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816509" cy="997467"/>
            <a:chOff x="7835905" y="279400"/>
            <a:chExt cx="802227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129966" cy="730767"/>
            <a:chOff x="7540629" y="279400"/>
            <a:chExt cx="1110202" cy="730767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84371" cy="1306516"/>
            <a:chOff x="7769225" y="250825"/>
            <a:chExt cx="868902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4822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0068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54938716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56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600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2"/>
            <a:ext cx="1228516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95"/>
            <a:endParaRPr lang="en-US" sz="45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70965" y="1952134"/>
            <a:ext cx="1792157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45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3/16/2018 1:23 PM Central European Standard Time</a:t>
            </a:r>
            <a:endParaRPr lang="en-US" sz="45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67656" y="4125960"/>
            <a:ext cx="198772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45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6" y="75766"/>
            <a:ext cx="3783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5"/>
            <a:ext cx="116964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161585" y="6337696"/>
            <a:ext cx="11601681" cy="293688"/>
            <a:chOff x="75" y="3956"/>
            <a:chExt cx="5385" cy="18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4294" indent="-64294">
                <a:defRPr/>
              </a:pPr>
              <a:r>
                <a:rPr lang="en-US" sz="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3"/>
              <a:ext cx="4702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0285" indent="-370285" defTabSz="895395">
                <a:tabLst/>
              </a:pPr>
              <a:r>
                <a:rPr lang="en-US" sz="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378404"/>
            <a:ext cx="5786837" cy="387350"/>
            <a:chOff x="915" y="786"/>
            <a:chExt cx="2686" cy="244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86"/>
              <a:ext cx="2686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92116" y="285752"/>
            <a:ext cx="365934" cy="120033"/>
            <a:chOff x="8471137" y="285750"/>
            <a:chExt cx="269638" cy="120033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71137" y="285750"/>
              <a:ext cx="269638" cy="1200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95">
                <a:buClr>
                  <a:schemeClr val="tx2"/>
                </a:buClr>
              </a:pPr>
              <a:r>
                <a:rPr lang="en-US" sz="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71137" y="285750"/>
              <a:ext cx="0" cy="12003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71137" y="405783"/>
              <a:ext cx="26963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06" y="279402"/>
            <a:ext cx="668891" cy="984251"/>
            <a:chOff x="7835905" y="279400"/>
            <a:chExt cx="657191" cy="98425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5" y="279400"/>
            <a:ext cx="982349" cy="684600"/>
            <a:chOff x="7540629" y="279400"/>
            <a:chExt cx="965166" cy="68460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4" y="250825"/>
            <a:ext cx="736753" cy="1306516"/>
            <a:chOff x="7769225" y="250825"/>
            <a:chExt cx="723866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60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872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90" r:id="rId4"/>
  </p:sldLayoutIdLst>
  <p:txStyles>
    <p:titleStyle>
      <a:lvl1pPr algn="l" defTabSz="895395" rtl="0" eaLnBrk="1" fontAlgn="base" hangingPunct="1">
        <a:spcBef>
          <a:spcPct val="0"/>
        </a:spcBef>
        <a:spcAft>
          <a:spcPct val="0"/>
        </a:spcAft>
        <a:tabLst>
          <a:tab pos="269888" algn="l"/>
        </a:tabLst>
        <a:defRPr sz="15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23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46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68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92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45800" indent="-1431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34800" indent="-1863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461700" indent="-1161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61600" indent="-972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8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2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143535386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853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1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61584" y="26988"/>
            <a:ext cx="87844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auto">
          <a:xfrm>
            <a:off x="161585" y="6080125"/>
            <a:ext cx="11601681" cy="508000"/>
            <a:chOff x="75" y="3830"/>
            <a:chExt cx="5385" cy="32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71318" y="1185865"/>
            <a:ext cx="5786837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4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11308614" y="6434981"/>
            <a:ext cx="6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1319" y="1951380"/>
            <a:ext cx="583854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0696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1736987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880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buClr>
                <a:srgbClr val="002960"/>
              </a:buClr>
              <a:buFontTx/>
              <a:buNone/>
            </a:pPr>
            <a:endParaRPr lang="en-US" sz="1600" b="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2"/>
            <a:ext cx="1228516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95">
              <a:buClr>
                <a:srgbClr val="002960"/>
              </a:buClr>
            </a:pPr>
            <a:endParaRPr lang="en-US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70965" y="1952134"/>
            <a:ext cx="1792157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buClr>
                <a:srgbClr val="002960"/>
              </a:buClr>
              <a:defRPr/>
            </a:pPr>
            <a:r>
              <a:rPr lang="en-US" sz="450">
                <a:solidFill>
                  <a:srgbClr val="808080"/>
                </a:solidFill>
                <a:latin typeface="Arial"/>
              </a:rPr>
              <a:t>Last Modified 3/16/2018 1:23 PM Central European Standard Time</a:t>
            </a:r>
            <a:endParaRPr lang="en-US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67656" y="4125960"/>
            <a:ext cx="198772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buClr>
                <a:srgbClr val="002960"/>
              </a:buClr>
              <a:defRPr/>
            </a:pPr>
            <a:r>
              <a:rPr lang="en-US" sz="450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6" y="75766"/>
            <a:ext cx="3783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buClr>
                <a:srgbClr val="002960"/>
              </a:buClr>
            </a:pPr>
            <a:r>
              <a:rPr lang="en-US" sz="6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5"/>
            <a:ext cx="116964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12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161585" y="6337696"/>
            <a:ext cx="11601681" cy="293688"/>
            <a:chOff x="75" y="3956"/>
            <a:chExt cx="5385" cy="18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4294" indent="-64294">
                <a:buClr>
                  <a:srgbClr val="002960"/>
                </a:buClr>
                <a:defRPr/>
              </a:pPr>
              <a:r>
                <a:rPr lang="en-US" sz="6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3"/>
              <a:ext cx="4702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0285" indent="-370285" defTabSz="895395">
                <a:buClr>
                  <a:srgbClr val="002960"/>
                </a:buClr>
              </a:pPr>
              <a:r>
                <a:rPr lang="en-US" sz="600" dirty="0">
                  <a:solidFill>
                    <a:srgbClr val="80808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378404"/>
            <a:ext cx="5786837" cy="387350"/>
            <a:chOff x="915" y="786"/>
            <a:chExt cx="2686" cy="244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86"/>
              <a:ext cx="2686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>
                <a:buClr>
                  <a:srgbClr val="002960"/>
                </a:buClr>
              </a:pPr>
              <a:r>
                <a:rPr lang="en-US" sz="1200" dirty="0">
                  <a:solidFill>
                    <a:srgbClr val="002960"/>
                  </a:solidFill>
                  <a:latin typeface="Arial"/>
                </a:rPr>
                <a:t>Title</a:t>
              </a:r>
            </a:p>
            <a:p>
              <a:pPr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92116" y="285752"/>
            <a:ext cx="365934" cy="120033"/>
            <a:chOff x="8471137" y="285750"/>
            <a:chExt cx="269638" cy="120033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71137" y="285750"/>
              <a:ext cx="269638" cy="1200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95">
                <a:buClr>
                  <a:srgbClr val="002960"/>
                </a:buClr>
              </a:pPr>
              <a:r>
                <a:rPr lang="en-US" sz="6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71137" y="285750"/>
              <a:ext cx="0" cy="12003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71137" y="405783"/>
              <a:ext cx="26963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06" y="279402"/>
            <a:ext cx="668891" cy="984251"/>
            <a:chOff x="7835905" y="279400"/>
            <a:chExt cx="657191" cy="98425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buClr>
                  <a:srgbClr val="002960"/>
                </a:buClr>
              </a:pPr>
              <a:endParaRPr lang="en-US" sz="1050" dirty="0">
                <a:solidFill>
                  <a:srgbClr val="002960"/>
                </a:solidFill>
                <a:latin typeface="Arial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buClr>
                  <a:srgbClr val="002960"/>
                </a:buClr>
              </a:pPr>
              <a:endParaRPr lang="en-US" sz="1050" dirty="0">
                <a:solidFill>
                  <a:srgbClr val="002960"/>
                </a:solidFill>
                <a:latin typeface="Arial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buClr>
                  <a:srgbClr val="002960"/>
                </a:buClr>
              </a:pPr>
              <a:endParaRPr lang="en-US" sz="1050" dirty="0">
                <a:solidFill>
                  <a:srgbClr val="002960"/>
                </a:solidFill>
                <a:latin typeface="Arial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buClr>
                  <a:srgbClr val="002960"/>
                </a:buClr>
              </a:pPr>
              <a:endParaRPr lang="en-US" sz="1050" dirty="0">
                <a:solidFill>
                  <a:srgbClr val="002960"/>
                </a:solidFill>
                <a:latin typeface="Arial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5" y="279400"/>
            <a:ext cx="982349" cy="684600"/>
            <a:chOff x="7540629" y="279400"/>
            <a:chExt cx="965166" cy="68460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002960"/>
                </a:buClr>
              </a:pPr>
              <a:endParaRPr lang="en-US" sz="1050" dirty="0">
                <a:solidFill>
                  <a:srgbClr val="002960"/>
                </a:solidFill>
                <a:latin typeface="Arial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002960"/>
                </a:buClr>
              </a:pPr>
              <a:endParaRPr lang="en-US" sz="1050" dirty="0">
                <a:solidFill>
                  <a:srgbClr val="002960"/>
                </a:solidFill>
                <a:latin typeface="Arial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002960"/>
                </a:buClr>
              </a:pPr>
              <a:endParaRPr lang="en-US" sz="1050" dirty="0">
                <a:solidFill>
                  <a:srgbClr val="002960"/>
                </a:solidFill>
                <a:latin typeface="Arial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4" y="250825"/>
            <a:ext cx="736753" cy="1306516"/>
            <a:chOff x="7769225" y="250825"/>
            <a:chExt cx="723866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rgbClr val="002960"/>
                  </a:buClr>
                </a:pPr>
                <a:endParaRPr lang="en-US" sz="1050" dirty="0">
                  <a:solidFill>
                    <a:srgbClr val="002960"/>
                  </a:solidFill>
                  <a:latin typeface="Arial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rgbClr val="002960"/>
                  </a:buClr>
                </a:pPr>
                <a:endParaRPr lang="en-US" sz="1050" dirty="0">
                  <a:solidFill>
                    <a:srgbClr val="002960"/>
                  </a:solidFill>
                  <a:latin typeface="Arial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rgbClr val="002960"/>
                  </a:buClr>
                </a:pPr>
                <a:endParaRPr lang="en-US" sz="1050" dirty="0">
                  <a:solidFill>
                    <a:srgbClr val="002960"/>
                  </a:solidFill>
                  <a:latin typeface="Arial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rgbClr val="002960"/>
                  </a:buClr>
                </a:pPr>
                <a:endParaRPr lang="en-US" sz="1050" dirty="0">
                  <a:solidFill>
                    <a:srgbClr val="002960"/>
                  </a:solidFill>
                  <a:latin typeface="Arial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rgbClr val="002960"/>
                  </a:buClr>
                </a:pPr>
                <a:endParaRPr lang="en-US" sz="1050" dirty="0">
                  <a:solidFill>
                    <a:srgbClr val="002960"/>
                  </a:solidFill>
                  <a:latin typeface="Arial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rgbClr val="002960"/>
                  </a:buClr>
                </a:pPr>
                <a:endParaRPr lang="en-US" sz="1050" dirty="0">
                  <a:solidFill>
                    <a:srgbClr val="002960"/>
                  </a:solidFill>
                  <a:latin typeface="Arial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rgbClr val="002960"/>
                  </a:buClr>
                </a:pPr>
                <a:endParaRPr lang="en-US" sz="1050" dirty="0">
                  <a:solidFill>
                    <a:srgbClr val="002960"/>
                  </a:solidFill>
                  <a:latin typeface="Arial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rgbClr val="002960"/>
                  </a:buClr>
                </a:pPr>
                <a:endParaRPr lang="en-US" sz="1050" dirty="0">
                  <a:solidFill>
                    <a:srgbClr val="00296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rgbClr val="002960"/>
                  </a:buClr>
                </a:pPr>
                <a:endParaRPr lang="en-US" sz="1050" dirty="0">
                  <a:solidFill>
                    <a:srgbClr val="002960"/>
                  </a:solidFill>
                  <a:latin typeface="Arial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buClr>
                    <a:srgbClr val="002960"/>
                  </a:buClr>
                </a:pPr>
                <a:endParaRPr lang="en-US" sz="1050" dirty="0">
                  <a:solidFill>
                    <a:srgbClr val="002960"/>
                  </a:solidFill>
                  <a:latin typeface="Arial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en-US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60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002960"/>
              </a:buClr>
            </a:pPr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9649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</p:sldLayoutIdLst>
  <p:txStyles>
    <p:titleStyle>
      <a:lvl1pPr algn="l" defTabSz="895395" rtl="0" eaLnBrk="1" fontAlgn="base" hangingPunct="1">
        <a:spcBef>
          <a:spcPct val="0"/>
        </a:spcBef>
        <a:spcAft>
          <a:spcPct val="0"/>
        </a:spcAft>
        <a:tabLst>
          <a:tab pos="269888" algn="l"/>
        </a:tabLst>
        <a:defRPr sz="15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23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46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68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92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45800" indent="-1431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34800" indent="-1863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461700" indent="-1161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61600" indent="-972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8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2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51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872808" y="1940591"/>
            <a:ext cx="238847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US"/>
            </a:pPr>
            <a:r>
              <a:rPr lang="en-US" sz="600">
                <a:solidFill>
                  <a:srgbClr val="808080"/>
                </a:solidFill>
                <a:latin typeface="Arial"/>
              </a:rPr>
              <a:t>Last Modified 3/16/2018 1:23 PM Central European Standard Time</a:t>
            </a:r>
            <a:endParaRPr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34794" y="4114417"/>
            <a:ext cx="26449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US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US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US"/>
            </a:pPr>
            <a:r>
              <a:rPr sz="600" dirty="0">
                <a:solidFill>
                  <a:srgbClr val="808080"/>
                </a:solidFill>
                <a:latin typeface="Arial"/>
              </a:rPr>
              <a:t>Printed</a:t>
            </a:r>
            <a:endParaRPr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5001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5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en-US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en-US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en-US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en-US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en-US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en-US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en-US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en-US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en-US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en-US"/>
            </a:pPr>
            <a:r>
              <a:rPr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585" y="6305945"/>
            <a:ext cx="1169647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en-US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en-US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en-US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en-US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en-US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en-US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en-US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en-US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en-US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en-US"/>
              </a:pPr>
              <a:r>
                <a:rPr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316494"/>
            <a:ext cx="5786837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4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379908" y="285751"/>
            <a:ext cx="478144" cy="150811"/>
            <a:chOff x="8388455" y="285750"/>
            <a:chExt cx="352320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8455" y="285750"/>
              <a:ext cx="352320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8455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8455" y="436561"/>
              <a:ext cx="35232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41807" y="279401"/>
            <a:ext cx="892938" cy="997467"/>
            <a:chOff x="7835905" y="279400"/>
            <a:chExt cx="657961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0396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0396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0396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0396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24076" y="279401"/>
            <a:ext cx="1310900" cy="730767"/>
            <a:chOff x="7540629" y="279400"/>
            <a:chExt cx="965935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03960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03960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03960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51321" y="250825"/>
            <a:ext cx="983425" cy="1306516"/>
            <a:chOff x="7769225" y="250825"/>
            <a:chExt cx="724636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0396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0396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0396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0396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0396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3904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en-US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en-US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en-US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en-US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en-US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en-US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en-US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en-US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en-US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lang="en-US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en-US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en-US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en-US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en-US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en-US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en-US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en-US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en-US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72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872807" y="1940591"/>
            <a:ext cx="238847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3/16/2018 1:23 PM Central European Standard Time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934794" y="4114417"/>
            <a:ext cx="26449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61584" y="26988"/>
            <a:ext cx="87844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auto">
          <a:xfrm>
            <a:off x="161585" y="6080125"/>
            <a:ext cx="11601681" cy="508000"/>
            <a:chOff x="75" y="3830"/>
            <a:chExt cx="5385" cy="32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71318" y="1185865"/>
            <a:ext cx="5786837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4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9965362" y="6434981"/>
            <a:ext cx="13433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1319" y="1951380"/>
            <a:ext cx="583854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0689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872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6" name="SlideBottomBar"/>
          <p:cNvSpPr>
            <a:spLocks noChangeArrowheads="1"/>
          </p:cNvSpPr>
          <p:nvPr/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400"/>
          </a:p>
        </p:txBody>
      </p:sp>
      <p:sp>
        <p:nvSpPr>
          <p:cNvPr id="1026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9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98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9965362" y="6434981"/>
            <a:ext cx="13433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/>
              <a:t>McKinsey &amp; Company</a:t>
            </a:r>
          </a:p>
        </p:txBody>
      </p:sp>
      <p:sp>
        <p:nvSpPr>
          <p:cNvPr id="1076" name="1. On-page tracker" hidden="1"/>
          <p:cNvSpPr>
            <a:spLocks noChangeArrowheads="1"/>
          </p:cNvSpPr>
          <p:nvPr/>
        </p:nvSpPr>
        <p:spPr bwMode="auto">
          <a:xfrm>
            <a:off x="161584" y="26988"/>
            <a:ext cx="87844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3. Unit of measure" hidden="1"/>
          <p:cNvSpPr txBox="1">
            <a:spLocks noChangeArrowheads="1"/>
          </p:cNvSpPr>
          <p:nvPr/>
        </p:nvSpPr>
        <p:spPr bwMode="auto">
          <a:xfrm>
            <a:off x="161584" y="531813"/>
            <a:ext cx="496168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40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315" name="Slide Elements"/>
          <p:cNvGrpSpPr>
            <a:grpSpLocks/>
          </p:cNvGrpSpPr>
          <p:nvPr/>
        </p:nvGrpSpPr>
        <p:grpSpPr bwMode="auto">
          <a:xfrm>
            <a:off x="161585" y="6080125"/>
            <a:ext cx="11601681" cy="508000"/>
            <a:chOff x="75" y="3830"/>
            <a:chExt cx="5385" cy="320"/>
          </a:xfrm>
        </p:grpSpPr>
        <p:sp>
          <p:nvSpPr>
            <p:cNvPr id="1151" name="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sz="1000"/>
                <a:t>1 Footnote</a:t>
              </a:r>
            </a:p>
          </p:txBody>
        </p:sp>
        <p:sp>
          <p:nvSpPr>
            <p:cNvPr id="1154" name="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303" name="ACET" hidden="1"/>
          <p:cNvGrpSpPr>
            <a:grpSpLocks/>
          </p:cNvGrpSpPr>
          <p:nvPr/>
        </p:nvGrpSpPr>
        <p:grpSpPr bwMode="auto">
          <a:xfrm>
            <a:off x="1971318" y="1185865"/>
            <a:ext cx="5786837" cy="449263"/>
            <a:chOff x="915" y="747"/>
            <a:chExt cx="2686" cy="283"/>
          </a:xfrm>
        </p:grpSpPr>
        <p:cxnSp>
          <p:nvCxnSpPr>
            <p:cNvPr id="127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/>
                <a:t>Title</a:t>
              </a:r>
            </a:p>
            <a:p>
              <a:r>
                <a:rPr lang="en-US" sz="14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97374" y="6435725"/>
            <a:ext cx="264996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</a:defRPr>
            </a:lvl1pPr>
          </a:lstStyle>
          <a:p>
            <a:fld id="{6D442F57-7FA7-49CA-8AD7-7FE7DB41EFF6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1308" name="Working Draft"/>
          <p:cNvSpPr txBox="1">
            <a:spLocks noChangeArrowheads="1"/>
          </p:cNvSpPr>
          <p:nvPr/>
        </p:nvSpPr>
        <p:spPr bwMode="auto">
          <a:xfrm rot="5400000">
            <a:off x="10872805" y="1932918"/>
            <a:ext cx="238847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/>
              <a:t>Last Modified 3/16/2018 1:23 PM Central European Standard Time</a:t>
            </a:r>
            <a:endParaRPr lang="en-US" sz="1400"/>
          </a:p>
        </p:txBody>
      </p:sp>
      <p:sp>
        <p:nvSpPr>
          <p:cNvPr id="1309" name="Printed"/>
          <p:cNvSpPr txBox="1">
            <a:spLocks noChangeArrowheads="1"/>
          </p:cNvSpPr>
          <p:nvPr/>
        </p:nvSpPr>
        <p:spPr bwMode="auto">
          <a:xfrm rot="5400000">
            <a:off x="11934794" y="3851940"/>
            <a:ext cx="26449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/>
              <a:t>Printed</a:t>
            </a:r>
            <a:endParaRPr lang="en-US" sz="1400"/>
          </a:p>
        </p:txBody>
      </p:sp>
      <p:sp>
        <p:nvSpPr>
          <p:cNvPr id="131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1318" y="1951039"/>
            <a:ext cx="5838544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12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435596" y="6402924"/>
            <a:ext cx="4328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200"/>
              <a:t>|</a:t>
            </a:r>
          </a:p>
        </p:txBody>
      </p:sp>
      <p:sp>
        <p:nvSpPr>
          <p:cNvPr id="1319" name="doc id"/>
          <p:cNvSpPr>
            <a:spLocks noChangeArrowheads="1"/>
          </p:cNvSpPr>
          <p:nvPr/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428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hf hdr="0" ftr="0" dt="0"/>
  <p:txStyles>
    <p:titleStyle>
      <a:lvl1pPr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fontAlgn="base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61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406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1318" y="1951039"/>
            <a:ext cx="583854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584" y="26988"/>
            <a:ext cx="87844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161585" y="6080125"/>
            <a:ext cx="11601681" cy="508000"/>
            <a:chOff x="75" y="3830"/>
            <a:chExt cx="5385" cy="320"/>
          </a:xfrm>
        </p:grpSpPr>
        <p:sp>
          <p:nvSpPr>
            <p:cNvPr id="13" name="Slide Elements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Slide Elements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1318" y="1185865"/>
            <a:ext cx="5786837" cy="449263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4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9965362" y="6434981"/>
            <a:ext cx="13433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183250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02681583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146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600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2"/>
            <a:ext cx="1228516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95"/>
            <a:endParaRPr lang="en-US" sz="45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70965" y="1952134"/>
            <a:ext cx="1792157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45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3/16/2018 1:23 PM Central European Standard Time</a:t>
            </a:r>
            <a:endParaRPr lang="en-US" sz="45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67656" y="4125960"/>
            <a:ext cx="198772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45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6" y="75766"/>
            <a:ext cx="3783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5"/>
            <a:ext cx="116964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161585" y="6337696"/>
            <a:ext cx="11601681" cy="293688"/>
            <a:chOff x="75" y="3956"/>
            <a:chExt cx="5385" cy="18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4294" indent="-64294">
                <a:defRPr/>
              </a:pPr>
              <a:r>
                <a:rPr lang="en-US" sz="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3"/>
              <a:ext cx="4702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0285" indent="-370285" defTabSz="895395">
                <a:tabLst/>
              </a:pPr>
              <a:r>
                <a:rPr lang="en-US" sz="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378404"/>
            <a:ext cx="5786837" cy="387350"/>
            <a:chOff x="915" y="786"/>
            <a:chExt cx="2686" cy="244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86"/>
              <a:ext cx="2686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92116" y="285752"/>
            <a:ext cx="365934" cy="120033"/>
            <a:chOff x="8471137" y="285750"/>
            <a:chExt cx="269638" cy="120033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71137" y="285750"/>
              <a:ext cx="269638" cy="1200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95">
                <a:buClr>
                  <a:schemeClr val="tx2"/>
                </a:buClr>
              </a:pPr>
              <a:r>
                <a:rPr lang="en-US" sz="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71137" y="285750"/>
              <a:ext cx="0" cy="12003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71137" y="405783"/>
              <a:ext cx="26963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06" y="279402"/>
            <a:ext cx="668891" cy="984251"/>
            <a:chOff x="7835905" y="279400"/>
            <a:chExt cx="657191" cy="98425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5" y="279400"/>
            <a:ext cx="982349" cy="684600"/>
            <a:chOff x="7540629" y="279400"/>
            <a:chExt cx="965166" cy="68460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4" y="250825"/>
            <a:ext cx="736753" cy="1306516"/>
            <a:chOff x="7769225" y="250825"/>
            <a:chExt cx="723866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5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0319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60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3321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</p:sldLayoutIdLst>
  <p:txStyles>
    <p:titleStyle>
      <a:lvl1pPr algn="l" defTabSz="895395" rtl="0" eaLnBrk="1" fontAlgn="base" hangingPunct="1">
        <a:spcBef>
          <a:spcPct val="0"/>
        </a:spcBef>
        <a:spcAft>
          <a:spcPct val="0"/>
        </a:spcAft>
        <a:tabLst>
          <a:tab pos="269888" algn="l"/>
        </a:tabLst>
        <a:defRPr sz="15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23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46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68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92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45800" indent="-1431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34800" indent="-1863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461700" indent="-1161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61600" indent="-97200" algn="l" defTabSz="67151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8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2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4" Type="http://schemas.openxmlformats.org/officeDocument/2006/relationships/tags" Target="../tags/tag190.xml"/><Relationship Id="rId5" Type="http://schemas.openxmlformats.org/officeDocument/2006/relationships/slideLayout" Target="../slideLayouts/slideLayout41.xml"/><Relationship Id="rId6" Type="http://schemas.openxmlformats.org/officeDocument/2006/relationships/notesSlide" Target="../notesSlides/notesSlide1.xml"/><Relationship Id="rId7" Type="http://schemas.openxmlformats.org/officeDocument/2006/relationships/oleObject" Target="../embeddings/oleObject33.bin"/><Relationship Id="rId1" Type="http://schemas.openxmlformats.org/officeDocument/2006/relationships/vmlDrawing" Target="../drawings/vmlDrawing32.vml"/><Relationship Id="rId2" Type="http://schemas.openxmlformats.org/officeDocument/2006/relationships/tags" Target="../tags/tag18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5" name="Rectangle 10">
            <a:extLst>
              <a:ext uri="{FF2B5EF4-FFF2-40B4-BE49-F238E27FC236}">
                <a16:creationId xmlns:a16="http://schemas.microsoft.com/office/drawing/2014/main" xmlns="" id="{FDAF7D3F-2FCD-4050-AB16-0DA4D32CD07C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209550" y="361384"/>
            <a:ext cx="1012825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pl-PL" altLang="de-DE" dirty="0" err="1"/>
              <a:t>OutdoorCo</a:t>
            </a:r>
            <a:r>
              <a:rPr lang="pl-PL" altLang="de-DE" dirty="0"/>
              <a:t> </a:t>
            </a:r>
            <a:r>
              <a:rPr lang="en-US" altLang="de-DE" dirty="0"/>
              <a:t>‘mercenary’ approach puts intense focus on small number of target accounts</a:t>
            </a:r>
          </a:p>
        </p:txBody>
      </p:sp>
      <p:sp>
        <p:nvSpPr>
          <p:cNvPr id="11266" name="Slide Number Placeholder 2">
            <a:extLst>
              <a:ext uri="{FF2B5EF4-FFF2-40B4-BE49-F238E27FC236}">
                <a16:creationId xmlns:a16="http://schemas.microsoft.com/office/drawing/2014/main" xmlns="" id="{78CCAE4A-065E-4324-9EB9-2032472B0E5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noFill/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de-DE" sz="1000" dirty="0">
                <a:solidFill>
                  <a:srgbClr val="000000"/>
                </a:solidFill>
              </a:rPr>
              <a:t> </a:t>
            </a:r>
          </a:p>
        </p:txBody>
      </p:sp>
      <p:graphicFrame>
        <p:nvGraphicFramePr>
          <p:cNvPr id="11267" name="Rectangle 2" hidden="1">
            <a:extLst>
              <a:ext uri="{FF2B5EF4-FFF2-40B4-BE49-F238E27FC236}">
                <a16:creationId xmlns:a16="http://schemas.microsoft.com/office/drawing/2014/main" xmlns="" id="{E3552D7A-D363-4748-BBB3-78064F6F9C94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16002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216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11267" name="Rectangle 2" hidden="1">
                        <a:extLst>
                          <a:ext uri="{FF2B5EF4-FFF2-40B4-BE49-F238E27FC236}">
                            <a16:creationId xmlns:a16="http://schemas.microsoft.com/office/drawing/2014/main" xmlns="" id="{E3552D7A-D363-4748-BBB3-78064F6F9C94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6002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719264" y="6539052"/>
            <a:ext cx="68627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buClrTx/>
              <a:buSzTx/>
              <a:tabLst>
                <a:tab pos="612775" algn="l"/>
              </a:tabLst>
            </a:pPr>
            <a:r>
              <a:rPr lang="en-US" altLang="zh-CN" sz="600" dirty="0">
                <a:solidFill>
                  <a:schemeClr val="accent6"/>
                </a:solidFill>
                <a:latin typeface="Arial" panose="020B0604020202020204" pitchFamily="34" charset="0"/>
                <a:ea typeface="SimSun" pitchFamily="2" charset="-122"/>
              </a:rPr>
              <a:t>SOURCE: Interviews</a:t>
            </a:r>
          </a:p>
        </p:txBody>
      </p:sp>
      <p:sp>
        <p:nvSpPr>
          <p:cNvPr id="4" name="TextBox 3"/>
          <p:cNvSpPr txBox="1">
            <a:spLocks/>
          </p:cNvSpPr>
          <p:nvPr/>
        </p:nvSpPr>
        <p:spPr>
          <a:xfrm>
            <a:off x="386370" y="1675876"/>
            <a:ext cx="2956905" cy="13696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71513" eaLnBrk="1" latinLnBrk="0" hangingPunct="1">
              <a:buSzPct val="100000"/>
              <a:defRPr lang="en-US" sz="1200" baseline="0" dirty="0">
                <a:solidFill>
                  <a:schemeClr val="tx1"/>
                </a:solidFill>
                <a:latin typeface="+mn-lt"/>
              </a:defRPr>
            </a:lvl1pPr>
            <a:lvl2pPr marL="145800" lvl="1" indent="-143100" defTabSz="671513" eaLnBrk="1" latinLnBrk="0" hangingPunct="1">
              <a:buChar char="▪"/>
              <a:defRPr lang="en-US" sz="1200" baseline="0" dirty="0">
                <a:solidFill>
                  <a:schemeClr val="tx1"/>
                </a:solidFill>
                <a:latin typeface="+mn-lt"/>
              </a:defRPr>
            </a:lvl2pPr>
            <a:lvl3pPr marL="334800" lvl="2" indent="-186300" defTabSz="671513" eaLnBrk="1" latinLnBrk="0" hangingPunct="1">
              <a:buSzPct val="120000"/>
              <a:buChar char="–"/>
              <a:defRPr lang="en-US" sz="1200" baseline="0" dirty="0">
                <a:solidFill>
                  <a:schemeClr val="tx1"/>
                </a:solidFill>
                <a:latin typeface="+mn-lt"/>
              </a:defRPr>
            </a:lvl3pPr>
            <a:lvl4pPr marL="461700" lvl="3" indent="-116100" defTabSz="671513" eaLnBrk="1" latinLnBrk="0" hangingPunct="1">
              <a:buSzPct val="120000"/>
              <a:buChar char="▫"/>
              <a:defRPr lang="en-US" sz="1200" baseline="0" dirty="0">
                <a:solidFill>
                  <a:schemeClr val="tx1"/>
                </a:solidFill>
                <a:latin typeface="+mn-lt"/>
              </a:defRPr>
            </a:lvl4pPr>
            <a:lvl5pPr marL="561600" lvl="4" indent="-97200" defTabSz="671513" eaLnBrk="1" latinLnBrk="0" hangingPunct="1">
              <a:buSzPct val="89000"/>
              <a:buChar char="-"/>
              <a:defRPr lang="en-US" sz="1200" baseline="0" dirty="0">
                <a:solidFill>
                  <a:schemeClr val="tx1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b="0" dirty="0"/>
              <a:t>Identify top 20-30 accounts to penetrate</a:t>
            </a:r>
          </a:p>
          <a:p>
            <a:pPr lvl="1">
              <a:spcBef>
                <a:spcPts val="200"/>
              </a:spcBef>
            </a:pPr>
            <a:r>
              <a:rPr lang="en-US" b="0" dirty="0"/>
              <a:t>Provide executive visibility to keep objective top-of-mind</a:t>
            </a:r>
          </a:p>
          <a:p>
            <a:pPr lvl="2">
              <a:spcBef>
                <a:spcPts val="200"/>
              </a:spcBef>
            </a:pPr>
            <a:r>
              <a:rPr lang="en-US" b="0" dirty="0"/>
              <a:t>Larry Ellison updated quarterly on progress for top accounts</a:t>
            </a:r>
          </a:p>
          <a:p>
            <a:pPr lvl="1">
              <a:spcBef>
                <a:spcPts val="200"/>
              </a:spcBef>
            </a:pPr>
            <a:r>
              <a:rPr lang="en-US" b="0" dirty="0"/>
              <a:t>Cover with 2 accounts to 1 dedicated ‘hunter’ ratio</a:t>
            </a: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3948204" y="1625162"/>
            <a:ext cx="3634358" cy="176458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71513" eaLnBrk="1" latinLnBrk="0" hangingPunct="1">
              <a:buSzPct val="100000"/>
              <a:defRPr lang="en-US" sz="1200" baseline="0" dirty="0">
                <a:solidFill>
                  <a:schemeClr val="tx1"/>
                </a:solidFill>
                <a:latin typeface="+mn-lt"/>
              </a:defRPr>
            </a:lvl1pPr>
            <a:lvl2pPr marL="145800" lvl="1" indent="-143100" defTabSz="671513" eaLnBrk="1" latinLnBrk="0" hangingPunct="1">
              <a:buChar char="▪"/>
              <a:defRPr lang="en-US" sz="1200" baseline="0" dirty="0">
                <a:solidFill>
                  <a:schemeClr val="tx1"/>
                </a:solidFill>
                <a:latin typeface="+mn-lt"/>
              </a:defRPr>
            </a:lvl2pPr>
            <a:lvl3pPr marL="334800" lvl="2" indent="-186300" defTabSz="671513" eaLnBrk="1" latinLnBrk="0" hangingPunct="1">
              <a:buSzPct val="120000"/>
              <a:buChar char="–"/>
              <a:defRPr lang="en-US" sz="1200" baseline="0" dirty="0">
                <a:solidFill>
                  <a:schemeClr val="tx1"/>
                </a:solidFill>
                <a:latin typeface="+mn-lt"/>
              </a:defRPr>
            </a:lvl3pPr>
            <a:lvl4pPr marL="461700" lvl="3" indent="-116100" defTabSz="671513" eaLnBrk="1" latinLnBrk="0" hangingPunct="1">
              <a:buSzPct val="120000"/>
              <a:buChar char="▫"/>
              <a:defRPr lang="en-US" sz="1200" baseline="0" dirty="0">
                <a:solidFill>
                  <a:schemeClr val="tx1"/>
                </a:solidFill>
                <a:latin typeface="+mn-lt"/>
              </a:defRPr>
            </a:lvl4pPr>
            <a:lvl5pPr marL="561600" lvl="4" indent="-97200" defTabSz="671513" eaLnBrk="1" latinLnBrk="0" hangingPunct="1">
              <a:buSzPct val="89000"/>
              <a:buChar char="-"/>
              <a:defRPr lang="en-US" sz="1200" baseline="0" dirty="0">
                <a:solidFill>
                  <a:schemeClr val="tx1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b="0" dirty="0"/>
              <a:t>Approach targets through multiple avenues</a:t>
            </a:r>
          </a:p>
          <a:p>
            <a:pPr lvl="2">
              <a:spcBef>
                <a:spcPts val="200"/>
              </a:spcBef>
            </a:pPr>
            <a:r>
              <a:rPr lang="en-US" b="0" dirty="0"/>
              <a:t>Offer </a:t>
            </a:r>
            <a:r>
              <a:rPr lang="pl-PL" b="0" dirty="0"/>
              <a:t>Client</a:t>
            </a:r>
            <a:r>
              <a:rPr lang="en-US" b="0" dirty="0"/>
              <a:t> partners selling competitor products into prey a bounty of 2-3x normal incentives</a:t>
            </a:r>
          </a:p>
          <a:p>
            <a:pPr lvl="2">
              <a:spcBef>
                <a:spcPts val="200"/>
              </a:spcBef>
            </a:pPr>
            <a:r>
              <a:rPr lang="en-US" b="0" dirty="0"/>
              <a:t>Poach sales representatives from competitors that already cover the target accounts</a:t>
            </a:r>
          </a:p>
          <a:p>
            <a:pPr lvl="2">
              <a:spcBef>
                <a:spcPts val="200"/>
              </a:spcBef>
            </a:pPr>
            <a:r>
              <a:rPr lang="en-US" b="0" dirty="0"/>
              <a:t>Hire new representatives who otherwise have the relationship (e.g. from a business partner or from the target itself)</a:t>
            </a:r>
          </a:p>
          <a:p>
            <a:pPr>
              <a:spcBef>
                <a:spcPts val="200"/>
              </a:spcBef>
            </a:pPr>
            <a:endParaRPr lang="en-US" b="0" dirty="0"/>
          </a:p>
        </p:txBody>
      </p:sp>
      <p:sp>
        <p:nvSpPr>
          <p:cNvPr id="8" name="TextBox 7"/>
          <p:cNvSpPr txBox="1">
            <a:spLocks/>
          </p:cNvSpPr>
          <p:nvPr/>
        </p:nvSpPr>
        <p:spPr>
          <a:xfrm>
            <a:off x="8297406" y="1675876"/>
            <a:ext cx="3196920" cy="35548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71513" eaLnBrk="1" latinLnBrk="0" hangingPunct="1">
              <a:buSzPct val="100000"/>
              <a:defRPr lang="en-US" sz="1200" baseline="0" dirty="0">
                <a:solidFill>
                  <a:schemeClr val="tx1"/>
                </a:solidFill>
                <a:latin typeface="+mn-lt"/>
              </a:defRPr>
            </a:lvl1pPr>
            <a:lvl2pPr marL="145800" lvl="1" indent="-143100" defTabSz="671513" eaLnBrk="1" latinLnBrk="0" hangingPunct="1">
              <a:buChar char="▪"/>
              <a:defRPr lang="en-US" sz="1200" baseline="0" dirty="0">
                <a:solidFill>
                  <a:schemeClr val="tx1"/>
                </a:solidFill>
                <a:latin typeface="+mn-lt"/>
              </a:defRPr>
            </a:lvl2pPr>
            <a:lvl3pPr marL="334800" lvl="2" indent="-186300" defTabSz="671513" eaLnBrk="1" latinLnBrk="0" hangingPunct="1">
              <a:buSzPct val="120000"/>
              <a:buChar char="–"/>
              <a:defRPr lang="en-US" sz="1200" baseline="0" dirty="0">
                <a:solidFill>
                  <a:schemeClr val="tx1"/>
                </a:solidFill>
                <a:latin typeface="+mn-lt"/>
              </a:defRPr>
            </a:lvl3pPr>
            <a:lvl4pPr marL="461700" lvl="3" indent="-116100" defTabSz="671513" eaLnBrk="1" latinLnBrk="0" hangingPunct="1">
              <a:buSzPct val="120000"/>
              <a:buChar char="▫"/>
              <a:defRPr lang="en-US" sz="1200" baseline="0" dirty="0">
                <a:solidFill>
                  <a:schemeClr val="tx1"/>
                </a:solidFill>
                <a:latin typeface="+mn-lt"/>
              </a:defRPr>
            </a:lvl4pPr>
            <a:lvl5pPr marL="561600" lvl="4" indent="-97200" defTabSz="671513" eaLnBrk="1" latinLnBrk="0" hangingPunct="1">
              <a:buSzPct val="89000"/>
              <a:buChar char="-"/>
              <a:defRPr lang="en-US" sz="1200" baseline="0" dirty="0">
                <a:solidFill>
                  <a:schemeClr val="tx1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b="0" dirty="0"/>
              <a:t>Align hunters incentives with new account penetration</a:t>
            </a:r>
          </a:p>
          <a:p>
            <a:pPr lvl="2">
              <a:spcBef>
                <a:spcPts val="200"/>
              </a:spcBef>
            </a:pPr>
            <a:r>
              <a:rPr lang="en-US" b="0" dirty="0"/>
              <a:t>80% base exceeds fraction of base of other sales reps</a:t>
            </a:r>
          </a:p>
          <a:p>
            <a:pPr lvl="2">
              <a:spcBef>
                <a:spcPts val="200"/>
              </a:spcBef>
            </a:pPr>
            <a:r>
              <a:rPr lang="en-US" b="0" dirty="0"/>
              <a:t>Commission rate is 2x the rate of farmed accounts</a:t>
            </a:r>
          </a:p>
          <a:p>
            <a:pPr lvl="1">
              <a:spcBef>
                <a:spcPts val="200"/>
              </a:spcBef>
            </a:pPr>
            <a:r>
              <a:rPr lang="en-US" b="0" dirty="0"/>
              <a:t>Monitor activities to measure account progress, e.g.</a:t>
            </a:r>
          </a:p>
          <a:p>
            <a:pPr lvl="2">
              <a:spcBef>
                <a:spcPts val="200"/>
              </a:spcBef>
            </a:pPr>
            <a:r>
              <a:rPr lang="en-US" b="0" dirty="0"/>
              <a:t>Number of C-level meetings</a:t>
            </a:r>
          </a:p>
          <a:p>
            <a:pPr lvl="2">
              <a:spcBef>
                <a:spcPts val="200"/>
              </a:spcBef>
            </a:pPr>
            <a:r>
              <a:rPr lang="en-US" b="0" dirty="0"/>
              <a:t>Number of demos completed</a:t>
            </a:r>
          </a:p>
          <a:p>
            <a:pPr lvl="1">
              <a:spcBef>
                <a:spcPts val="200"/>
              </a:spcBef>
            </a:pPr>
            <a:r>
              <a:rPr lang="en-US" b="0" dirty="0"/>
              <a:t>Guarantee benefits to </a:t>
            </a:r>
            <a:br>
              <a:rPr lang="en-US" b="0" dirty="0"/>
            </a:br>
            <a:r>
              <a:rPr lang="en-US" b="0" dirty="0"/>
              <a:t>hunters, e.g.,</a:t>
            </a:r>
          </a:p>
          <a:p>
            <a:pPr lvl="2">
              <a:spcBef>
                <a:spcPts val="200"/>
              </a:spcBef>
            </a:pPr>
            <a:r>
              <a:rPr lang="en-US" b="0" dirty="0"/>
              <a:t>BP’s that penetrate the account receive exclusivity for a set number of years</a:t>
            </a:r>
          </a:p>
          <a:p>
            <a:pPr lvl="1">
              <a:spcBef>
                <a:spcPts val="200"/>
              </a:spcBef>
            </a:pPr>
            <a:r>
              <a:rPr lang="en-US" b="0" dirty="0"/>
              <a:t>Align management incentives</a:t>
            </a:r>
          </a:p>
          <a:p>
            <a:pPr lvl="2">
              <a:spcBef>
                <a:spcPts val="200"/>
              </a:spcBef>
            </a:pPr>
            <a:r>
              <a:rPr lang="en-US" b="0" dirty="0"/>
              <a:t>Region level executives with both hunters and farmers in report-to chain are measured on % of new-account revenue</a:t>
            </a:r>
          </a:p>
        </p:txBody>
      </p:sp>
      <p:sp>
        <p:nvSpPr>
          <p:cNvPr id="31" name="Rectangle 13">
            <a:extLst>
              <a:ext uri="{FF2B5EF4-FFF2-40B4-BE49-F238E27FC236}">
                <a16:creationId xmlns:a16="http://schemas.microsoft.com/office/drawing/2014/main" xmlns="" id="{FD39A054-CD7C-A745-BA02-713D1DE02B34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1"/>
            <a:ext cx="981075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0" dirty="0">
                <a:solidFill>
                  <a:srgbClr val="FFFFFF"/>
                </a:solidFill>
                <a:latin typeface="Arial" pitchFamily="34" charset="0"/>
              </a:rPr>
              <a:t>TMT | Global</a:t>
            </a:r>
            <a:endParaRPr lang="en-US" sz="1000" b="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6" name="Rectangle 13">
            <a:extLst>
              <a:ext uri="{FF2B5EF4-FFF2-40B4-BE49-F238E27FC236}">
                <a16:creationId xmlns:a16="http://schemas.microsoft.com/office/drawing/2014/main" xmlns="" id="{EF32D7F7-5515-F84B-829C-0A90D28CA31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94326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0" dirty="0">
                <a:solidFill>
                  <a:srgbClr val="FFFFFF"/>
                </a:solidFill>
                <a:latin typeface="Arial" pitchFamily="34" charset="0"/>
              </a:rPr>
              <a:t>HIT021</a:t>
            </a:r>
            <a:endParaRPr lang="en-US" sz="1000" b="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152285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7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236244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8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236244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9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236244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40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1208422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1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1208422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561861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594141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888295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888295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41251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NEWNAMES" val="True"/>
  <p:tag name="ISNEWSLIDENUMBER" val="True"/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MTBTACCENT" val="Accent2"/>
  <p:tag name="THINKCELLUNDODONOTDELETE" val="0"/>
  <p:tag name="PREVIOUSNAME" val="C:\Users\Anuradha Sarin\Documents\16 Case Codification process\M&amp;S Cases\Oracle_S&amp;C_201855_Design choices-hunter vs farmer-v10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3YQefYb0eR37GyRTPd.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11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3.xml><?xml version="1.0" encoding="utf-8"?>
<a:theme xmlns:a="http://schemas.openxmlformats.org/drawingml/2006/main" name="1_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English (US)" id="{EAC5EF4B-70F8-4D10-9379-45E30AADA438}" vid="{22D5582C-07FE-4E2D-BF40-F8817E22A1AE}"/>
    </a:ext>
  </a:extLst>
</a:theme>
</file>

<file path=ppt/theme/theme4.xml><?xml version="1.0" encoding="utf-8"?>
<a:theme xmlns:a="http://schemas.openxmlformats.org/drawingml/2006/main" name="2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6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English (US)" id="{EAC5EF4B-70F8-4D10-9379-45E30AADA438}" vid="{22D5582C-07FE-4E2D-BF40-F8817E22A1AE}"/>
    </a:ext>
  </a:extLst>
</a:theme>
</file>

<file path=ppt/theme/theme7.xml><?xml version="1.0" encoding="utf-8"?>
<a:theme xmlns:a="http://schemas.openxmlformats.org/drawingml/2006/main" name="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898</TotalTime>
  <Words>175</Words>
  <Application>Microsoft Macintosh PowerPoint</Application>
  <PresentationFormat>Custom</PresentationFormat>
  <Paragraphs>3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9" baseType="lpstr">
      <vt:lpstr>Arial Unicode MS</vt:lpstr>
      <vt:lpstr>Georgia</vt:lpstr>
      <vt:lpstr>ＭＳ Ｐゴシック</vt:lpstr>
      <vt:lpstr>SimSun</vt:lpstr>
      <vt:lpstr>Times New Roman</vt:lpstr>
      <vt:lpstr>Arial</vt:lpstr>
      <vt:lpstr>Firm Format - template_Blue</vt:lpstr>
      <vt:lpstr>1_Firm Format - template_Blue</vt:lpstr>
      <vt:lpstr>1_Firm Format - English (US)</vt:lpstr>
      <vt:lpstr>2_Firm Format - template_Blue</vt:lpstr>
      <vt:lpstr>3_Firm Format - template_Blue</vt:lpstr>
      <vt:lpstr>Firm Format - English (US)</vt:lpstr>
      <vt:lpstr>blank</vt:lpstr>
      <vt:lpstr>1_Blank</vt:lpstr>
      <vt:lpstr>4_Firm Format - template_Blue</vt:lpstr>
      <vt:lpstr>M&amp;S Theme</vt:lpstr>
      <vt:lpstr>Firm Format - template_Grey</vt:lpstr>
      <vt:lpstr>think-cell Slide</vt:lpstr>
      <vt:lpstr>OutdoorCo ‘mercenary’ approach puts intense focus on small number of target accounts</vt:lpstr>
    </vt:vector>
  </TitlesOfParts>
  <Company>Corporate</Company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ey action areas: modules in IT</dc:title>
  <dc:creator>Corporate</dc:creator>
  <cp:lastModifiedBy>Petra Vincent</cp:lastModifiedBy>
  <cp:revision>2166</cp:revision>
  <cp:lastPrinted>2009-08-11T17:30:09Z</cp:lastPrinted>
  <dcterms:created xsi:type="dcterms:W3CDTF">2009-05-27T07:25:09Z</dcterms:created>
  <dcterms:modified xsi:type="dcterms:W3CDTF">2019-05-01T22:05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Final">
    <vt:bool>false</vt:bool>
  </property>
  <property fmtid="{D5CDD505-2E9C-101B-9397-08002B2CF9AE}" pid="6" name="Title">
    <vt:lpwstr>Key action areas: modules in IT </vt:lpwstr>
  </property>
  <property fmtid="{D5CDD505-2E9C-101B-9397-08002B2CF9AE}" pid="7" name="Event">
    <vt:lpwstr/>
  </property>
  <property fmtid="{D5CDD505-2E9C-101B-9397-08002B2CF9AE}" pid="8" name="Delivery Date">
    <vt:lpwstr>August 2009</vt:lpwstr>
  </property>
  <property fmtid="{D5CDD505-2E9C-101B-9397-08002B2CF9AE}" pid="9" name="DocID">
    <vt:lpwstr/>
  </property>
  <property fmtid="{D5CDD505-2E9C-101B-9397-08002B2CF9AE}" pid="10" name="DocIDinTitle">
    <vt:bool>false</vt:bool>
  </property>
  <property fmtid="{D5CDD505-2E9C-101B-9397-08002B2CF9AE}" pid="11" name="DocIDinSlide">
    <vt:bool>false</vt:bool>
  </property>
  <property fmtid="{D5CDD505-2E9C-101B-9397-08002B2CF9AE}" pid="12" name="DocIDPosition">
    <vt:i4>1</vt:i4>
  </property>
  <property fmtid="{D5CDD505-2E9C-101B-9397-08002B2CF9AE}" pid="13" name="PortedBy">
    <vt:lpwstr>Anubhav Bhojne</vt:lpwstr>
  </property>
  <property fmtid="{D5CDD505-2E9C-101B-9397-08002B2CF9AE}" pid="14" name="DatePorted">
    <vt:lpwstr>7/19/2013 11:54:57 AM</vt:lpwstr>
  </property>
</Properties>
</file>